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3" r:id="rId2"/>
  </p:sldMasterIdLst>
  <p:notesMasterIdLst>
    <p:notesMasterId r:id="rId8"/>
  </p:notesMasterIdLst>
  <p:sldIdLst>
    <p:sldId id="8931" r:id="rId3"/>
    <p:sldId id="8913" r:id="rId4"/>
    <p:sldId id="8948" r:id="rId5"/>
    <p:sldId id="8950" r:id="rId6"/>
    <p:sldId id="8949"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83" autoAdjust="0"/>
    <p:restoredTop sz="9466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tableStyles" Target="tableStyle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heme" Target="theme/theme1.xml"/><Relationship Id="rId5" Type="http://schemas.openxmlformats.org/officeDocument/2006/relationships/slide" Target="slides/slide3.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B2D6D9A-4DE8-432A-9DD3-70483A465AAD}" type="datetimeFigureOut">
              <a:rPr lang="en-GB" smtClean="0"/>
              <a:t>02/09/2022</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BB20B6F-EA9B-4876-84AD-AAF6A10DCF10}" type="slidenum">
              <a:rPr lang="en-GB" smtClean="0"/>
              <a:t>‹#›</a:t>
            </a:fld>
            <a:endParaRPr lang="en-GB" dirty="0"/>
          </a:p>
        </p:txBody>
      </p:sp>
    </p:spTree>
    <p:extLst>
      <p:ext uri="{BB962C8B-B14F-4D97-AF65-F5344CB8AC3E}">
        <p14:creationId xmlns:p14="http://schemas.microsoft.com/office/powerpoint/2010/main" val="24997929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secHead">
  <p:cSld name="Alternative title slide">
    <p:bg>
      <p:bgPr>
        <a:gradFill rotWithShape="1">
          <a:gsLst>
            <a:gs pos="0">
              <a:srgbClr val="0091C9"/>
            </a:gs>
            <a:gs pos="60001">
              <a:srgbClr val="0072C6"/>
            </a:gs>
            <a:gs pos="100000">
              <a:srgbClr val="003893"/>
            </a:gs>
          </a:gsLst>
          <a:lin ang="5400000"/>
        </a:gradFill>
        <a:effectLst/>
      </p:bgPr>
    </p:bg>
    <p:spTree>
      <p:nvGrpSpPr>
        <p:cNvPr id="1" name=""/>
        <p:cNvGrpSpPr/>
        <p:nvPr/>
      </p:nvGrpSpPr>
      <p:grpSpPr>
        <a:xfrm>
          <a:off x="0" y="0"/>
          <a:ext cx="0" cy="0"/>
          <a:chOff x="0" y="0"/>
          <a:chExt cx="0" cy="0"/>
        </a:xfrm>
      </p:grpSpPr>
      <p:sp>
        <p:nvSpPr>
          <p:cNvPr id="4" name="Freeform 3"/>
          <p:cNvSpPr/>
          <p:nvPr/>
        </p:nvSpPr>
        <p:spPr>
          <a:xfrm>
            <a:off x="-6614" y="-9922"/>
            <a:ext cx="12213496" cy="2019199"/>
          </a:xfrm>
          <a:custGeom>
            <a:avLst/>
            <a:gdLst>
              <a:gd name="connsiteX0" fmla="*/ 0 w 9262587"/>
              <a:gd name="connsiteY0" fmla="*/ 1836110 h 2121727"/>
              <a:gd name="connsiteX1" fmla="*/ 1168024 w 9262587"/>
              <a:gd name="connsiteY1" fmla="*/ 1581095 h 2121727"/>
              <a:gd name="connsiteX2" fmla="*/ 1994312 w 9262587"/>
              <a:gd name="connsiteY2" fmla="*/ 1535192 h 2121727"/>
              <a:gd name="connsiteX3" fmla="*/ 2693087 w 9262587"/>
              <a:gd name="connsiteY3" fmla="*/ 1550493 h 2121727"/>
              <a:gd name="connsiteX4" fmla="*/ 4141641 w 9262587"/>
              <a:gd name="connsiteY4" fmla="*/ 1831010 h 2121727"/>
              <a:gd name="connsiteX5" fmla="*/ 5212756 w 9262587"/>
              <a:gd name="connsiteY5" fmla="*/ 2075824 h 2121727"/>
              <a:gd name="connsiteX6" fmla="*/ 7043851 w 9262587"/>
              <a:gd name="connsiteY6" fmla="*/ 2121727 h 2121727"/>
              <a:gd name="connsiteX7" fmla="*/ 8844343 w 9262587"/>
              <a:gd name="connsiteY7" fmla="*/ 1866712 h 2121727"/>
              <a:gd name="connsiteX8" fmla="*/ 9262587 w 9262587"/>
              <a:gd name="connsiteY8" fmla="*/ 1611696 h 2121727"/>
              <a:gd name="connsiteX9" fmla="*/ 9221783 w 9262587"/>
              <a:gd name="connsiteY9" fmla="*/ 0 h 2121727"/>
              <a:gd name="connsiteX10" fmla="*/ 20402 w 9262587"/>
              <a:gd name="connsiteY10" fmla="*/ 40802 h 2121727"/>
              <a:gd name="connsiteX11" fmla="*/ 0 w 9262587"/>
              <a:gd name="connsiteY11" fmla="*/ 1836110 h 2121727"/>
              <a:gd name="connsiteX0" fmla="*/ 0 w 9221783"/>
              <a:gd name="connsiteY0" fmla="*/ 1836110 h 2121727"/>
              <a:gd name="connsiteX1" fmla="*/ 1168024 w 9221783"/>
              <a:gd name="connsiteY1" fmla="*/ 1581095 h 2121727"/>
              <a:gd name="connsiteX2" fmla="*/ 1994312 w 9221783"/>
              <a:gd name="connsiteY2" fmla="*/ 1535192 h 2121727"/>
              <a:gd name="connsiteX3" fmla="*/ 2693087 w 9221783"/>
              <a:gd name="connsiteY3" fmla="*/ 1550493 h 2121727"/>
              <a:gd name="connsiteX4" fmla="*/ 4141641 w 9221783"/>
              <a:gd name="connsiteY4" fmla="*/ 1831010 h 2121727"/>
              <a:gd name="connsiteX5" fmla="*/ 5212756 w 9221783"/>
              <a:gd name="connsiteY5" fmla="*/ 2075824 h 2121727"/>
              <a:gd name="connsiteX6" fmla="*/ 7043851 w 9221783"/>
              <a:gd name="connsiteY6" fmla="*/ 2121727 h 2121727"/>
              <a:gd name="connsiteX7" fmla="*/ 8844343 w 9221783"/>
              <a:gd name="connsiteY7" fmla="*/ 1866712 h 2121727"/>
              <a:gd name="connsiteX8" fmla="*/ 9170777 w 9221783"/>
              <a:gd name="connsiteY8" fmla="*/ 1662699 h 2121727"/>
              <a:gd name="connsiteX9" fmla="*/ 9221783 w 9221783"/>
              <a:gd name="connsiteY9" fmla="*/ 0 h 2121727"/>
              <a:gd name="connsiteX10" fmla="*/ 20402 w 9221783"/>
              <a:gd name="connsiteY10" fmla="*/ 40802 h 2121727"/>
              <a:gd name="connsiteX11" fmla="*/ 0 w 9221783"/>
              <a:gd name="connsiteY11" fmla="*/ 1836110 h 2121727"/>
              <a:gd name="connsiteX0" fmla="*/ 0 w 9170777"/>
              <a:gd name="connsiteY0" fmla="*/ 1795308 h 2080925"/>
              <a:gd name="connsiteX1" fmla="*/ 1168024 w 9170777"/>
              <a:gd name="connsiteY1" fmla="*/ 1540293 h 2080925"/>
              <a:gd name="connsiteX2" fmla="*/ 1994312 w 9170777"/>
              <a:gd name="connsiteY2" fmla="*/ 1494390 h 2080925"/>
              <a:gd name="connsiteX3" fmla="*/ 2693087 w 9170777"/>
              <a:gd name="connsiteY3" fmla="*/ 1509691 h 2080925"/>
              <a:gd name="connsiteX4" fmla="*/ 4141641 w 9170777"/>
              <a:gd name="connsiteY4" fmla="*/ 1790208 h 2080925"/>
              <a:gd name="connsiteX5" fmla="*/ 5212756 w 9170777"/>
              <a:gd name="connsiteY5" fmla="*/ 2035022 h 2080925"/>
              <a:gd name="connsiteX6" fmla="*/ 7043851 w 9170777"/>
              <a:gd name="connsiteY6" fmla="*/ 2080925 h 2080925"/>
              <a:gd name="connsiteX7" fmla="*/ 8844343 w 9170777"/>
              <a:gd name="connsiteY7" fmla="*/ 1825910 h 2080925"/>
              <a:gd name="connsiteX8" fmla="*/ 9170777 w 9170777"/>
              <a:gd name="connsiteY8" fmla="*/ 1621897 h 2080925"/>
              <a:gd name="connsiteX9" fmla="*/ 9119772 w 9170777"/>
              <a:gd name="connsiteY9" fmla="*/ 61204 h 2080925"/>
              <a:gd name="connsiteX10" fmla="*/ 20402 w 9170777"/>
              <a:gd name="connsiteY10" fmla="*/ 0 h 2080925"/>
              <a:gd name="connsiteX11" fmla="*/ 0 w 9170777"/>
              <a:gd name="connsiteY11" fmla="*/ 1795308 h 2080925"/>
              <a:gd name="connsiteX0" fmla="*/ 0 w 9170777"/>
              <a:gd name="connsiteY0" fmla="*/ 1795308 h 2080925"/>
              <a:gd name="connsiteX1" fmla="*/ 1168024 w 9170777"/>
              <a:gd name="connsiteY1" fmla="*/ 1540293 h 2080925"/>
              <a:gd name="connsiteX2" fmla="*/ 1994312 w 9170777"/>
              <a:gd name="connsiteY2" fmla="*/ 1494390 h 2080925"/>
              <a:gd name="connsiteX3" fmla="*/ 2693087 w 9170777"/>
              <a:gd name="connsiteY3" fmla="*/ 1509691 h 2080925"/>
              <a:gd name="connsiteX4" fmla="*/ 4141641 w 9170777"/>
              <a:gd name="connsiteY4" fmla="*/ 1790208 h 2080925"/>
              <a:gd name="connsiteX5" fmla="*/ 5212756 w 9170777"/>
              <a:gd name="connsiteY5" fmla="*/ 2035022 h 2080925"/>
              <a:gd name="connsiteX6" fmla="*/ 7043851 w 9170777"/>
              <a:gd name="connsiteY6" fmla="*/ 2080925 h 2080925"/>
              <a:gd name="connsiteX7" fmla="*/ 8844343 w 9170777"/>
              <a:gd name="connsiteY7" fmla="*/ 1825910 h 2080925"/>
              <a:gd name="connsiteX8" fmla="*/ 9170777 w 9170777"/>
              <a:gd name="connsiteY8" fmla="*/ 1621897 h 2080925"/>
              <a:gd name="connsiteX9" fmla="*/ 9119772 w 9170777"/>
              <a:gd name="connsiteY9" fmla="*/ 61204 h 2080925"/>
              <a:gd name="connsiteX10" fmla="*/ 20402 w 9170777"/>
              <a:gd name="connsiteY10" fmla="*/ 0 h 2080925"/>
              <a:gd name="connsiteX11" fmla="*/ 0 w 9170777"/>
              <a:gd name="connsiteY11" fmla="*/ 1795308 h 2080925"/>
              <a:gd name="connsiteX0" fmla="*/ 0 w 9119859"/>
              <a:gd name="connsiteY0" fmla="*/ 1795308 h 2080925"/>
              <a:gd name="connsiteX1" fmla="*/ 1168024 w 9119859"/>
              <a:gd name="connsiteY1" fmla="*/ 1540293 h 2080925"/>
              <a:gd name="connsiteX2" fmla="*/ 1994312 w 9119859"/>
              <a:gd name="connsiteY2" fmla="*/ 1494390 h 2080925"/>
              <a:gd name="connsiteX3" fmla="*/ 2693087 w 9119859"/>
              <a:gd name="connsiteY3" fmla="*/ 1509691 h 2080925"/>
              <a:gd name="connsiteX4" fmla="*/ 4141641 w 9119859"/>
              <a:gd name="connsiteY4" fmla="*/ 1790208 h 2080925"/>
              <a:gd name="connsiteX5" fmla="*/ 5212756 w 9119859"/>
              <a:gd name="connsiteY5" fmla="*/ 2035022 h 2080925"/>
              <a:gd name="connsiteX6" fmla="*/ 7043851 w 9119859"/>
              <a:gd name="connsiteY6" fmla="*/ 2080925 h 2080925"/>
              <a:gd name="connsiteX7" fmla="*/ 8844343 w 9119859"/>
              <a:gd name="connsiteY7" fmla="*/ 1825910 h 2080925"/>
              <a:gd name="connsiteX8" fmla="*/ 9114671 w 9119859"/>
              <a:gd name="connsiteY8" fmla="*/ 1667800 h 2080925"/>
              <a:gd name="connsiteX9" fmla="*/ 9119772 w 9119859"/>
              <a:gd name="connsiteY9" fmla="*/ 61204 h 2080925"/>
              <a:gd name="connsiteX10" fmla="*/ 20402 w 9119859"/>
              <a:gd name="connsiteY10" fmla="*/ 0 h 2080925"/>
              <a:gd name="connsiteX11" fmla="*/ 0 w 9119859"/>
              <a:gd name="connsiteY11" fmla="*/ 1795308 h 2080925"/>
              <a:gd name="connsiteX0" fmla="*/ 0 w 9120224"/>
              <a:gd name="connsiteY0" fmla="*/ 1795308 h 2080925"/>
              <a:gd name="connsiteX1" fmla="*/ 1168024 w 9120224"/>
              <a:gd name="connsiteY1" fmla="*/ 1540293 h 2080925"/>
              <a:gd name="connsiteX2" fmla="*/ 1994312 w 9120224"/>
              <a:gd name="connsiteY2" fmla="*/ 1494390 h 2080925"/>
              <a:gd name="connsiteX3" fmla="*/ 2693087 w 9120224"/>
              <a:gd name="connsiteY3" fmla="*/ 1509691 h 2080925"/>
              <a:gd name="connsiteX4" fmla="*/ 4141641 w 9120224"/>
              <a:gd name="connsiteY4" fmla="*/ 1790208 h 2080925"/>
              <a:gd name="connsiteX5" fmla="*/ 5212756 w 9120224"/>
              <a:gd name="connsiteY5" fmla="*/ 2035022 h 2080925"/>
              <a:gd name="connsiteX6" fmla="*/ 7043851 w 9120224"/>
              <a:gd name="connsiteY6" fmla="*/ 2080925 h 2080925"/>
              <a:gd name="connsiteX7" fmla="*/ 8844343 w 9120224"/>
              <a:gd name="connsiteY7" fmla="*/ 1825910 h 2080925"/>
              <a:gd name="connsiteX8" fmla="*/ 9114671 w 9120224"/>
              <a:gd name="connsiteY8" fmla="*/ 1667800 h 2080925"/>
              <a:gd name="connsiteX9" fmla="*/ 9119772 w 9120224"/>
              <a:gd name="connsiteY9" fmla="*/ 61204 h 2080925"/>
              <a:gd name="connsiteX10" fmla="*/ 20402 w 9120224"/>
              <a:gd name="connsiteY10" fmla="*/ 0 h 2080925"/>
              <a:gd name="connsiteX11" fmla="*/ 0 w 9120224"/>
              <a:gd name="connsiteY11" fmla="*/ 1795308 h 2080925"/>
              <a:gd name="connsiteX0" fmla="*/ 40949 w 9161173"/>
              <a:gd name="connsiteY0" fmla="*/ 1734116 h 2019733"/>
              <a:gd name="connsiteX1" fmla="*/ 1208973 w 9161173"/>
              <a:gd name="connsiteY1" fmla="*/ 1479101 h 2019733"/>
              <a:gd name="connsiteX2" fmla="*/ 2035261 w 9161173"/>
              <a:gd name="connsiteY2" fmla="*/ 1433198 h 2019733"/>
              <a:gd name="connsiteX3" fmla="*/ 2734036 w 9161173"/>
              <a:gd name="connsiteY3" fmla="*/ 1448499 h 2019733"/>
              <a:gd name="connsiteX4" fmla="*/ 4182590 w 9161173"/>
              <a:gd name="connsiteY4" fmla="*/ 1729016 h 2019733"/>
              <a:gd name="connsiteX5" fmla="*/ 5253705 w 9161173"/>
              <a:gd name="connsiteY5" fmla="*/ 1973830 h 2019733"/>
              <a:gd name="connsiteX6" fmla="*/ 7084800 w 9161173"/>
              <a:gd name="connsiteY6" fmla="*/ 2019733 h 2019733"/>
              <a:gd name="connsiteX7" fmla="*/ 8885292 w 9161173"/>
              <a:gd name="connsiteY7" fmla="*/ 1764718 h 2019733"/>
              <a:gd name="connsiteX8" fmla="*/ 9155620 w 9161173"/>
              <a:gd name="connsiteY8" fmla="*/ 1606608 h 2019733"/>
              <a:gd name="connsiteX9" fmla="*/ 9160721 w 9161173"/>
              <a:gd name="connsiteY9" fmla="*/ 12 h 2019733"/>
              <a:gd name="connsiteX10" fmla="*/ 144 w 9161173"/>
              <a:gd name="connsiteY10" fmla="*/ 35714 h 2019733"/>
              <a:gd name="connsiteX11" fmla="*/ 40949 w 9161173"/>
              <a:gd name="connsiteY11" fmla="*/ 1734116 h 2019733"/>
              <a:gd name="connsiteX0" fmla="*/ 40805 w 9161029"/>
              <a:gd name="connsiteY0" fmla="*/ 1734116 h 2019733"/>
              <a:gd name="connsiteX1" fmla="*/ 1208829 w 9161029"/>
              <a:gd name="connsiteY1" fmla="*/ 1479101 h 2019733"/>
              <a:gd name="connsiteX2" fmla="*/ 2035117 w 9161029"/>
              <a:gd name="connsiteY2" fmla="*/ 1433198 h 2019733"/>
              <a:gd name="connsiteX3" fmla="*/ 2733892 w 9161029"/>
              <a:gd name="connsiteY3" fmla="*/ 1448499 h 2019733"/>
              <a:gd name="connsiteX4" fmla="*/ 4182446 w 9161029"/>
              <a:gd name="connsiteY4" fmla="*/ 1729016 h 2019733"/>
              <a:gd name="connsiteX5" fmla="*/ 5253561 w 9161029"/>
              <a:gd name="connsiteY5" fmla="*/ 1973830 h 2019733"/>
              <a:gd name="connsiteX6" fmla="*/ 7084656 w 9161029"/>
              <a:gd name="connsiteY6" fmla="*/ 2019733 h 2019733"/>
              <a:gd name="connsiteX7" fmla="*/ 8885148 w 9161029"/>
              <a:gd name="connsiteY7" fmla="*/ 1764718 h 2019733"/>
              <a:gd name="connsiteX8" fmla="*/ 9155476 w 9161029"/>
              <a:gd name="connsiteY8" fmla="*/ 1606608 h 2019733"/>
              <a:gd name="connsiteX9" fmla="*/ 9160577 w 9161029"/>
              <a:gd name="connsiteY9" fmla="*/ 12 h 2019733"/>
              <a:gd name="connsiteX10" fmla="*/ 0 w 9161029"/>
              <a:gd name="connsiteY10" fmla="*/ 35714 h 2019733"/>
              <a:gd name="connsiteX11" fmla="*/ 40805 w 9161029"/>
              <a:gd name="connsiteY11" fmla="*/ 1734116 h 2019733"/>
              <a:gd name="connsiteX0" fmla="*/ 0 w 9161029"/>
              <a:gd name="connsiteY0" fmla="*/ 1739216 h 2019733"/>
              <a:gd name="connsiteX1" fmla="*/ 1208829 w 9161029"/>
              <a:gd name="connsiteY1" fmla="*/ 1479101 h 2019733"/>
              <a:gd name="connsiteX2" fmla="*/ 2035117 w 9161029"/>
              <a:gd name="connsiteY2" fmla="*/ 1433198 h 2019733"/>
              <a:gd name="connsiteX3" fmla="*/ 2733892 w 9161029"/>
              <a:gd name="connsiteY3" fmla="*/ 1448499 h 2019733"/>
              <a:gd name="connsiteX4" fmla="*/ 4182446 w 9161029"/>
              <a:gd name="connsiteY4" fmla="*/ 1729016 h 2019733"/>
              <a:gd name="connsiteX5" fmla="*/ 5253561 w 9161029"/>
              <a:gd name="connsiteY5" fmla="*/ 1973830 h 2019733"/>
              <a:gd name="connsiteX6" fmla="*/ 7084656 w 9161029"/>
              <a:gd name="connsiteY6" fmla="*/ 2019733 h 2019733"/>
              <a:gd name="connsiteX7" fmla="*/ 8885148 w 9161029"/>
              <a:gd name="connsiteY7" fmla="*/ 1764718 h 2019733"/>
              <a:gd name="connsiteX8" fmla="*/ 9155476 w 9161029"/>
              <a:gd name="connsiteY8" fmla="*/ 1606608 h 2019733"/>
              <a:gd name="connsiteX9" fmla="*/ 9160577 w 9161029"/>
              <a:gd name="connsiteY9" fmla="*/ 12 h 2019733"/>
              <a:gd name="connsiteX10" fmla="*/ 0 w 9161029"/>
              <a:gd name="connsiteY10" fmla="*/ 35714 h 2019733"/>
              <a:gd name="connsiteX11" fmla="*/ 0 w 9161029"/>
              <a:gd name="connsiteY11" fmla="*/ 1739216 h 2019733"/>
              <a:gd name="connsiteX0" fmla="*/ 0 w 9161029"/>
              <a:gd name="connsiteY0" fmla="*/ 1739216 h 2019733"/>
              <a:gd name="connsiteX1" fmla="*/ 1208829 w 9161029"/>
              <a:gd name="connsiteY1" fmla="*/ 1479101 h 2019733"/>
              <a:gd name="connsiteX2" fmla="*/ 2035117 w 9161029"/>
              <a:gd name="connsiteY2" fmla="*/ 1433198 h 2019733"/>
              <a:gd name="connsiteX3" fmla="*/ 2733892 w 9161029"/>
              <a:gd name="connsiteY3" fmla="*/ 1448499 h 2019733"/>
              <a:gd name="connsiteX4" fmla="*/ 4182446 w 9161029"/>
              <a:gd name="connsiteY4" fmla="*/ 1729016 h 2019733"/>
              <a:gd name="connsiteX5" fmla="*/ 5253561 w 9161029"/>
              <a:gd name="connsiteY5" fmla="*/ 1973830 h 2019733"/>
              <a:gd name="connsiteX6" fmla="*/ 7084656 w 9161029"/>
              <a:gd name="connsiteY6" fmla="*/ 2019733 h 2019733"/>
              <a:gd name="connsiteX7" fmla="*/ 8885148 w 9161029"/>
              <a:gd name="connsiteY7" fmla="*/ 1764718 h 2019733"/>
              <a:gd name="connsiteX8" fmla="*/ 9155476 w 9161029"/>
              <a:gd name="connsiteY8" fmla="*/ 1606608 h 2019733"/>
              <a:gd name="connsiteX9" fmla="*/ 9160577 w 9161029"/>
              <a:gd name="connsiteY9" fmla="*/ 12 h 2019733"/>
              <a:gd name="connsiteX10" fmla="*/ 0 w 9161029"/>
              <a:gd name="connsiteY10" fmla="*/ 35714 h 2019733"/>
              <a:gd name="connsiteX11" fmla="*/ 0 w 9161029"/>
              <a:gd name="connsiteY11" fmla="*/ 1739216 h 2019733"/>
              <a:gd name="connsiteX0" fmla="*/ 0 w 9161029"/>
              <a:gd name="connsiteY0" fmla="*/ 1739216 h 2019733"/>
              <a:gd name="connsiteX1" fmla="*/ 1208829 w 9161029"/>
              <a:gd name="connsiteY1" fmla="*/ 1479101 h 2019733"/>
              <a:gd name="connsiteX2" fmla="*/ 2035117 w 9161029"/>
              <a:gd name="connsiteY2" fmla="*/ 1433198 h 2019733"/>
              <a:gd name="connsiteX3" fmla="*/ 2733892 w 9161029"/>
              <a:gd name="connsiteY3" fmla="*/ 1448499 h 2019733"/>
              <a:gd name="connsiteX4" fmla="*/ 4182446 w 9161029"/>
              <a:gd name="connsiteY4" fmla="*/ 1729016 h 2019733"/>
              <a:gd name="connsiteX5" fmla="*/ 5253561 w 9161029"/>
              <a:gd name="connsiteY5" fmla="*/ 1973830 h 2019733"/>
              <a:gd name="connsiteX6" fmla="*/ 7084656 w 9161029"/>
              <a:gd name="connsiteY6" fmla="*/ 2019733 h 2019733"/>
              <a:gd name="connsiteX7" fmla="*/ 8885148 w 9161029"/>
              <a:gd name="connsiteY7" fmla="*/ 1764718 h 2019733"/>
              <a:gd name="connsiteX8" fmla="*/ 9155476 w 9161029"/>
              <a:gd name="connsiteY8" fmla="*/ 1606608 h 2019733"/>
              <a:gd name="connsiteX9" fmla="*/ 9160577 w 9161029"/>
              <a:gd name="connsiteY9" fmla="*/ 12 h 2019733"/>
              <a:gd name="connsiteX10" fmla="*/ 0 w 9161029"/>
              <a:gd name="connsiteY10" fmla="*/ 2639 h 2019733"/>
              <a:gd name="connsiteX11" fmla="*/ 0 w 9161029"/>
              <a:gd name="connsiteY11" fmla="*/ 1739216 h 2019733"/>
              <a:gd name="connsiteX0" fmla="*/ 0 w 9161029"/>
              <a:gd name="connsiteY0" fmla="*/ 1739216 h 2019733"/>
              <a:gd name="connsiteX1" fmla="*/ 1208829 w 9161029"/>
              <a:gd name="connsiteY1" fmla="*/ 1479101 h 2019733"/>
              <a:gd name="connsiteX2" fmla="*/ 2035117 w 9161029"/>
              <a:gd name="connsiteY2" fmla="*/ 1433198 h 2019733"/>
              <a:gd name="connsiteX3" fmla="*/ 2733892 w 9161029"/>
              <a:gd name="connsiteY3" fmla="*/ 1448499 h 2019733"/>
              <a:gd name="connsiteX4" fmla="*/ 4182446 w 9161029"/>
              <a:gd name="connsiteY4" fmla="*/ 1729016 h 2019733"/>
              <a:gd name="connsiteX5" fmla="*/ 5253561 w 9161029"/>
              <a:gd name="connsiteY5" fmla="*/ 1973830 h 2019733"/>
              <a:gd name="connsiteX6" fmla="*/ 7084656 w 9161029"/>
              <a:gd name="connsiteY6" fmla="*/ 2019733 h 2019733"/>
              <a:gd name="connsiteX7" fmla="*/ 8885148 w 9161029"/>
              <a:gd name="connsiteY7" fmla="*/ 1764718 h 2019733"/>
              <a:gd name="connsiteX8" fmla="*/ 9155476 w 9161029"/>
              <a:gd name="connsiteY8" fmla="*/ 1606608 h 2019733"/>
              <a:gd name="connsiteX9" fmla="*/ 9160577 w 9161029"/>
              <a:gd name="connsiteY9" fmla="*/ 12 h 2019733"/>
              <a:gd name="connsiteX10" fmla="*/ 0 w 9161029"/>
              <a:gd name="connsiteY10" fmla="*/ 2639 h 2019733"/>
              <a:gd name="connsiteX11" fmla="*/ 0 w 9161029"/>
              <a:gd name="connsiteY11" fmla="*/ 1739216 h 2019733"/>
              <a:gd name="connsiteX0" fmla="*/ 0 w 9161029"/>
              <a:gd name="connsiteY0" fmla="*/ 1739216 h 2019733"/>
              <a:gd name="connsiteX1" fmla="*/ 1208829 w 9161029"/>
              <a:gd name="connsiteY1" fmla="*/ 1479101 h 2019733"/>
              <a:gd name="connsiteX2" fmla="*/ 2035117 w 9161029"/>
              <a:gd name="connsiteY2" fmla="*/ 1433198 h 2019733"/>
              <a:gd name="connsiteX3" fmla="*/ 2733892 w 9161029"/>
              <a:gd name="connsiteY3" fmla="*/ 1448499 h 2019733"/>
              <a:gd name="connsiteX4" fmla="*/ 4182446 w 9161029"/>
              <a:gd name="connsiteY4" fmla="*/ 1729016 h 2019733"/>
              <a:gd name="connsiteX5" fmla="*/ 5253561 w 9161029"/>
              <a:gd name="connsiteY5" fmla="*/ 1973830 h 2019733"/>
              <a:gd name="connsiteX6" fmla="*/ 7084656 w 9161029"/>
              <a:gd name="connsiteY6" fmla="*/ 2019733 h 2019733"/>
              <a:gd name="connsiteX7" fmla="*/ 8885148 w 9161029"/>
              <a:gd name="connsiteY7" fmla="*/ 1764718 h 2019733"/>
              <a:gd name="connsiteX8" fmla="*/ 9155476 w 9161029"/>
              <a:gd name="connsiteY8" fmla="*/ 1606608 h 2019733"/>
              <a:gd name="connsiteX9" fmla="*/ 9160577 w 9161029"/>
              <a:gd name="connsiteY9" fmla="*/ 12 h 2019733"/>
              <a:gd name="connsiteX10" fmla="*/ 0 w 9161029"/>
              <a:gd name="connsiteY10" fmla="*/ 2639 h 2019733"/>
              <a:gd name="connsiteX11" fmla="*/ 0 w 9161029"/>
              <a:gd name="connsiteY11" fmla="*/ 1739216 h 2019733"/>
              <a:gd name="connsiteX0" fmla="*/ 8028 w 9169057"/>
              <a:gd name="connsiteY0" fmla="*/ 1739216 h 2019733"/>
              <a:gd name="connsiteX1" fmla="*/ 1216857 w 9169057"/>
              <a:gd name="connsiteY1" fmla="*/ 1479101 h 2019733"/>
              <a:gd name="connsiteX2" fmla="*/ 2043145 w 9169057"/>
              <a:gd name="connsiteY2" fmla="*/ 1433198 h 2019733"/>
              <a:gd name="connsiteX3" fmla="*/ 2741920 w 9169057"/>
              <a:gd name="connsiteY3" fmla="*/ 1448499 h 2019733"/>
              <a:gd name="connsiteX4" fmla="*/ 4190474 w 9169057"/>
              <a:gd name="connsiteY4" fmla="*/ 1729016 h 2019733"/>
              <a:gd name="connsiteX5" fmla="*/ 5261589 w 9169057"/>
              <a:gd name="connsiteY5" fmla="*/ 1973830 h 2019733"/>
              <a:gd name="connsiteX6" fmla="*/ 7092684 w 9169057"/>
              <a:gd name="connsiteY6" fmla="*/ 2019733 h 2019733"/>
              <a:gd name="connsiteX7" fmla="*/ 8893176 w 9169057"/>
              <a:gd name="connsiteY7" fmla="*/ 1764718 h 2019733"/>
              <a:gd name="connsiteX8" fmla="*/ 9163504 w 9169057"/>
              <a:gd name="connsiteY8" fmla="*/ 1606608 h 2019733"/>
              <a:gd name="connsiteX9" fmla="*/ 9168605 w 9169057"/>
              <a:gd name="connsiteY9" fmla="*/ 12 h 2019733"/>
              <a:gd name="connsiteX10" fmla="*/ 8028 w 9169057"/>
              <a:gd name="connsiteY10" fmla="*/ 2639 h 2019733"/>
              <a:gd name="connsiteX11" fmla="*/ 8028 w 9169057"/>
              <a:gd name="connsiteY11" fmla="*/ 1739216 h 2019733"/>
              <a:gd name="connsiteX0" fmla="*/ 737673 w 9898702"/>
              <a:gd name="connsiteY0" fmla="*/ 1739216 h 2019733"/>
              <a:gd name="connsiteX1" fmla="*/ 1946502 w 9898702"/>
              <a:gd name="connsiteY1" fmla="*/ 1479101 h 2019733"/>
              <a:gd name="connsiteX2" fmla="*/ 2772790 w 9898702"/>
              <a:gd name="connsiteY2" fmla="*/ 1433198 h 2019733"/>
              <a:gd name="connsiteX3" fmla="*/ 3471565 w 9898702"/>
              <a:gd name="connsiteY3" fmla="*/ 1448499 h 2019733"/>
              <a:gd name="connsiteX4" fmla="*/ 4920119 w 9898702"/>
              <a:gd name="connsiteY4" fmla="*/ 1729016 h 2019733"/>
              <a:gd name="connsiteX5" fmla="*/ 5991234 w 9898702"/>
              <a:gd name="connsiteY5" fmla="*/ 1973830 h 2019733"/>
              <a:gd name="connsiteX6" fmla="*/ 7822329 w 9898702"/>
              <a:gd name="connsiteY6" fmla="*/ 2019733 h 2019733"/>
              <a:gd name="connsiteX7" fmla="*/ 9622821 w 9898702"/>
              <a:gd name="connsiteY7" fmla="*/ 1764718 h 2019733"/>
              <a:gd name="connsiteX8" fmla="*/ 9893149 w 9898702"/>
              <a:gd name="connsiteY8" fmla="*/ 1606608 h 2019733"/>
              <a:gd name="connsiteX9" fmla="*/ 9898250 w 9898702"/>
              <a:gd name="connsiteY9" fmla="*/ 12 h 2019733"/>
              <a:gd name="connsiteX10" fmla="*/ 737673 w 9898702"/>
              <a:gd name="connsiteY10" fmla="*/ 2639 h 2019733"/>
              <a:gd name="connsiteX11" fmla="*/ 737673 w 9898702"/>
              <a:gd name="connsiteY11" fmla="*/ 1739216 h 2019733"/>
              <a:gd name="connsiteX0" fmla="*/ 753082 w 9914111"/>
              <a:gd name="connsiteY0" fmla="*/ 1739216 h 2019733"/>
              <a:gd name="connsiteX1" fmla="*/ 1961911 w 9914111"/>
              <a:gd name="connsiteY1" fmla="*/ 1479101 h 2019733"/>
              <a:gd name="connsiteX2" fmla="*/ 2788199 w 9914111"/>
              <a:gd name="connsiteY2" fmla="*/ 1433198 h 2019733"/>
              <a:gd name="connsiteX3" fmla="*/ 3486974 w 9914111"/>
              <a:gd name="connsiteY3" fmla="*/ 1448499 h 2019733"/>
              <a:gd name="connsiteX4" fmla="*/ 4935528 w 9914111"/>
              <a:gd name="connsiteY4" fmla="*/ 1729016 h 2019733"/>
              <a:gd name="connsiteX5" fmla="*/ 6006643 w 9914111"/>
              <a:gd name="connsiteY5" fmla="*/ 1973830 h 2019733"/>
              <a:gd name="connsiteX6" fmla="*/ 7837738 w 9914111"/>
              <a:gd name="connsiteY6" fmla="*/ 2019733 h 2019733"/>
              <a:gd name="connsiteX7" fmla="*/ 9638230 w 9914111"/>
              <a:gd name="connsiteY7" fmla="*/ 1764718 h 2019733"/>
              <a:gd name="connsiteX8" fmla="*/ 9908558 w 9914111"/>
              <a:gd name="connsiteY8" fmla="*/ 1606608 h 2019733"/>
              <a:gd name="connsiteX9" fmla="*/ 9913659 w 9914111"/>
              <a:gd name="connsiteY9" fmla="*/ 12 h 2019733"/>
              <a:gd name="connsiteX10" fmla="*/ 753082 w 9914111"/>
              <a:gd name="connsiteY10" fmla="*/ 2639 h 2019733"/>
              <a:gd name="connsiteX11" fmla="*/ 753082 w 9914111"/>
              <a:gd name="connsiteY11" fmla="*/ 1739216 h 2019733"/>
              <a:gd name="connsiteX0" fmla="*/ 678562 w 9839591"/>
              <a:gd name="connsiteY0" fmla="*/ 1739216 h 2019733"/>
              <a:gd name="connsiteX1" fmla="*/ 1887391 w 9839591"/>
              <a:gd name="connsiteY1" fmla="*/ 1479101 h 2019733"/>
              <a:gd name="connsiteX2" fmla="*/ 2713679 w 9839591"/>
              <a:gd name="connsiteY2" fmla="*/ 1433198 h 2019733"/>
              <a:gd name="connsiteX3" fmla="*/ 3412454 w 9839591"/>
              <a:gd name="connsiteY3" fmla="*/ 1448499 h 2019733"/>
              <a:gd name="connsiteX4" fmla="*/ 4861008 w 9839591"/>
              <a:gd name="connsiteY4" fmla="*/ 1729016 h 2019733"/>
              <a:gd name="connsiteX5" fmla="*/ 5932123 w 9839591"/>
              <a:gd name="connsiteY5" fmla="*/ 1973830 h 2019733"/>
              <a:gd name="connsiteX6" fmla="*/ 7763218 w 9839591"/>
              <a:gd name="connsiteY6" fmla="*/ 2019733 h 2019733"/>
              <a:gd name="connsiteX7" fmla="*/ 9563710 w 9839591"/>
              <a:gd name="connsiteY7" fmla="*/ 1764718 h 2019733"/>
              <a:gd name="connsiteX8" fmla="*/ 9834038 w 9839591"/>
              <a:gd name="connsiteY8" fmla="*/ 1606608 h 2019733"/>
              <a:gd name="connsiteX9" fmla="*/ 9839139 w 9839591"/>
              <a:gd name="connsiteY9" fmla="*/ 12 h 2019733"/>
              <a:gd name="connsiteX10" fmla="*/ 678562 w 9839591"/>
              <a:gd name="connsiteY10" fmla="*/ 2639 h 2019733"/>
              <a:gd name="connsiteX11" fmla="*/ 678562 w 9839591"/>
              <a:gd name="connsiteY11" fmla="*/ 1739216 h 2019733"/>
              <a:gd name="connsiteX0" fmla="*/ 0 w 9161029"/>
              <a:gd name="connsiteY0" fmla="*/ 1739216 h 2019733"/>
              <a:gd name="connsiteX1" fmla="*/ 1208829 w 9161029"/>
              <a:gd name="connsiteY1" fmla="*/ 1479101 h 2019733"/>
              <a:gd name="connsiteX2" fmla="*/ 2035117 w 9161029"/>
              <a:gd name="connsiteY2" fmla="*/ 1433198 h 2019733"/>
              <a:gd name="connsiteX3" fmla="*/ 2733892 w 9161029"/>
              <a:gd name="connsiteY3" fmla="*/ 1448499 h 2019733"/>
              <a:gd name="connsiteX4" fmla="*/ 4182446 w 9161029"/>
              <a:gd name="connsiteY4" fmla="*/ 1729016 h 2019733"/>
              <a:gd name="connsiteX5" fmla="*/ 5253561 w 9161029"/>
              <a:gd name="connsiteY5" fmla="*/ 1973830 h 2019733"/>
              <a:gd name="connsiteX6" fmla="*/ 7084656 w 9161029"/>
              <a:gd name="connsiteY6" fmla="*/ 2019733 h 2019733"/>
              <a:gd name="connsiteX7" fmla="*/ 8885148 w 9161029"/>
              <a:gd name="connsiteY7" fmla="*/ 1764718 h 2019733"/>
              <a:gd name="connsiteX8" fmla="*/ 9155476 w 9161029"/>
              <a:gd name="connsiteY8" fmla="*/ 1606608 h 2019733"/>
              <a:gd name="connsiteX9" fmla="*/ 9160577 w 9161029"/>
              <a:gd name="connsiteY9" fmla="*/ 12 h 2019733"/>
              <a:gd name="connsiteX10" fmla="*/ 0 w 9161029"/>
              <a:gd name="connsiteY10" fmla="*/ 2639 h 2019733"/>
              <a:gd name="connsiteX11" fmla="*/ 0 w 9161029"/>
              <a:gd name="connsiteY11" fmla="*/ 1739216 h 2019733"/>
              <a:gd name="connsiteX0" fmla="*/ 0 w 9160577"/>
              <a:gd name="connsiteY0" fmla="*/ 1739204 h 2019721"/>
              <a:gd name="connsiteX1" fmla="*/ 1208829 w 9160577"/>
              <a:gd name="connsiteY1" fmla="*/ 1479089 h 2019721"/>
              <a:gd name="connsiteX2" fmla="*/ 2035117 w 9160577"/>
              <a:gd name="connsiteY2" fmla="*/ 1433186 h 2019721"/>
              <a:gd name="connsiteX3" fmla="*/ 2733892 w 9160577"/>
              <a:gd name="connsiteY3" fmla="*/ 1448487 h 2019721"/>
              <a:gd name="connsiteX4" fmla="*/ 4182446 w 9160577"/>
              <a:gd name="connsiteY4" fmla="*/ 1729004 h 2019721"/>
              <a:gd name="connsiteX5" fmla="*/ 5253561 w 9160577"/>
              <a:gd name="connsiteY5" fmla="*/ 1973818 h 2019721"/>
              <a:gd name="connsiteX6" fmla="*/ 7084656 w 9160577"/>
              <a:gd name="connsiteY6" fmla="*/ 2019721 h 2019721"/>
              <a:gd name="connsiteX7" fmla="*/ 8885148 w 9160577"/>
              <a:gd name="connsiteY7" fmla="*/ 1764706 h 2019721"/>
              <a:gd name="connsiteX8" fmla="*/ 9155476 w 9160577"/>
              <a:gd name="connsiteY8" fmla="*/ 1606596 h 2019721"/>
              <a:gd name="connsiteX9" fmla="*/ 9160577 w 9160577"/>
              <a:gd name="connsiteY9" fmla="*/ 0 h 2019721"/>
              <a:gd name="connsiteX10" fmla="*/ 0 w 9160577"/>
              <a:gd name="connsiteY10" fmla="*/ 2627 h 2019721"/>
              <a:gd name="connsiteX11" fmla="*/ 0 w 9160577"/>
              <a:gd name="connsiteY11" fmla="*/ 1739204 h 2019721"/>
              <a:gd name="connsiteX0" fmla="*/ 0 w 9160577"/>
              <a:gd name="connsiteY0" fmla="*/ 1739204 h 2019721"/>
              <a:gd name="connsiteX1" fmla="*/ 1208829 w 9160577"/>
              <a:gd name="connsiteY1" fmla="*/ 1479089 h 2019721"/>
              <a:gd name="connsiteX2" fmla="*/ 2035117 w 9160577"/>
              <a:gd name="connsiteY2" fmla="*/ 1433186 h 2019721"/>
              <a:gd name="connsiteX3" fmla="*/ 2733892 w 9160577"/>
              <a:gd name="connsiteY3" fmla="*/ 1448487 h 2019721"/>
              <a:gd name="connsiteX4" fmla="*/ 4182446 w 9160577"/>
              <a:gd name="connsiteY4" fmla="*/ 1729004 h 2019721"/>
              <a:gd name="connsiteX5" fmla="*/ 5253561 w 9160577"/>
              <a:gd name="connsiteY5" fmla="*/ 1973818 h 2019721"/>
              <a:gd name="connsiteX6" fmla="*/ 7084656 w 9160577"/>
              <a:gd name="connsiteY6" fmla="*/ 2019721 h 2019721"/>
              <a:gd name="connsiteX7" fmla="*/ 8885148 w 9160577"/>
              <a:gd name="connsiteY7" fmla="*/ 1764706 h 2019721"/>
              <a:gd name="connsiteX8" fmla="*/ 9155476 w 9160577"/>
              <a:gd name="connsiteY8" fmla="*/ 1606596 h 2019721"/>
              <a:gd name="connsiteX9" fmla="*/ 9160577 w 9160577"/>
              <a:gd name="connsiteY9" fmla="*/ 0 h 2019721"/>
              <a:gd name="connsiteX10" fmla="*/ 0 w 9160577"/>
              <a:gd name="connsiteY10" fmla="*/ 2627 h 2019721"/>
              <a:gd name="connsiteX11" fmla="*/ 0 w 9160577"/>
              <a:gd name="connsiteY11" fmla="*/ 1739204 h 2019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60577" h="2019721">
                <a:moveTo>
                  <a:pt x="0" y="1739204"/>
                </a:moveTo>
                <a:lnTo>
                  <a:pt x="1208829" y="1479089"/>
                </a:lnTo>
                <a:lnTo>
                  <a:pt x="2035117" y="1433186"/>
                </a:lnTo>
                <a:lnTo>
                  <a:pt x="2733892" y="1448487"/>
                </a:lnTo>
                <a:lnTo>
                  <a:pt x="4182446" y="1729004"/>
                </a:lnTo>
                <a:lnTo>
                  <a:pt x="5253561" y="1973818"/>
                </a:lnTo>
                <a:lnTo>
                  <a:pt x="7084656" y="2019721"/>
                </a:lnTo>
                <a:lnTo>
                  <a:pt x="8885148" y="1764706"/>
                </a:lnTo>
                <a:lnTo>
                  <a:pt x="9155476" y="1606596"/>
                </a:lnTo>
                <a:cubicBezTo>
                  <a:pt x="9158026" y="803298"/>
                  <a:pt x="9158026" y="803298"/>
                  <a:pt x="9160577" y="0"/>
                </a:cubicBezTo>
                <a:lnTo>
                  <a:pt x="0" y="2627"/>
                </a:lnTo>
                <a:lnTo>
                  <a:pt x="0" y="1739204"/>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1218660" eaLnBrk="0" hangingPunct="0">
              <a:defRPr/>
            </a:pPr>
            <a:endParaRPr lang="en-GB" sz="2396" dirty="0">
              <a:solidFill>
                <a:srgbClr val="FFFFFF"/>
              </a:solidFill>
            </a:endParaRPr>
          </a:p>
        </p:txBody>
      </p:sp>
      <p:pic>
        <p:nvPicPr>
          <p:cNvPr id="5" name="Picture 7" descr="_0000_NHSBT_Ribbon_NHS_Blue_RGB_WhiteAbv_DRAFT.png"/>
          <p:cNvPicPr>
            <a:picLocks noChangeAspect="1"/>
          </p:cNvPicPr>
          <p:nvPr/>
        </p:nvPicPr>
        <p:blipFill>
          <a:blip r:embed="rId2">
            <a:extLst>
              <a:ext uri="{28A0092B-C50C-407E-A947-70E740481C1C}">
                <a14:useLocalDpi xmlns:a14="http://schemas.microsoft.com/office/drawing/2010/main" val="0"/>
              </a:ext>
            </a:extLst>
          </a:blip>
          <a:srcRect l="2110" t="9514" r="3648"/>
          <a:stretch>
            <a:fillRect/>
          </a:stretch>
        </p:blipFill>
        <p:spPr bwMode="auto">
          <a:xfrm>
            <a:off x="-6614" y="-9922"/>
            <a:ext cx="12213496" cy="26608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descr="NHSBT Colour_RGB.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765311" y="365474"/>
            <a:ext cx="3940531" cy="70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596900" y="3357883"/>
            <a:ext cx="10363200" cy="1362075"/>
          </a:xfrm>
        </p:spPr>
        <p:txBody>
          <a:bodyPr/>
          <a:lstStyle>
            <a:lvl1pPr algn="l">
              <a:defRPr sz="5208" b="1" cap="none" baseline="0">
                <a:solidFill>
                  <a:srgbClr val="FFFFFF"/>
                </a:solidFill>
              </a:defRPr>
            </a:lvl1pPr>
          </a:lstStyle>
          <a:p>
            <a:r>
              <a:rPr lang="en-GB" noProof="0"/>
              <a:t>Click</a:t>
            </a:r>
            <a:r>
              <a:rPr lang="en-GB"/>
              <a:t> to edit Master title style</a:t>
            </a:r>
          </a:p>
        </p:txBody>
      </p:sp>
      <p:sp>
        <p:nvSpPr>
          <p:cNvPr id="3" name="Text Placeholder 2"/>
          <p:cNvSpPr>
            <a:spLocks noGrp="1"/>
          </p:cNvSpPr>
          <p:nvPr>
            <p:ph type="body" idx="1"/>
          </p:nvPr>
        </p:nvSpPr>
        <p:spPr>
          <a:xfrm>
            <a:off x="596900" y="4121582"/>
            <a:ext cx="10363200" cy="669607"/>
          </a:xfrm>
        </p:spPr>
        <p:txBody>
          <a:bodyPr/>
          <a:lstStyle>
            <a:lvl1pPr marL="0" indent="0" algn="l">
              <a:buNone/>
              <a:defRPr sz="3646">
                <a:solidFill>
                  <a:schemeClr val="bg1"/>
                </a:solidFill>
              </a:defRPr>
            </a:lvl1pPr>
            <a:lvl2pPr marL="476220" indent="0">
              <a:buNone/>
              <a:defRPr sz="1875">
                <a:solidFill>
                  <a:schemeClr val="tx1">
                    <a:tint val="75000"/>
                  </a:schemeClr>
                </a:solidFill>
              </a:defRPr>
            </a:lvl2pPr>
            <a:lvl3pPr marL="952439" indent="0">
              <a:buNone/>
              <a:defRPr sz="1667">
                <a:solidFill>
                  <a:schemeClr val="tx1">
                    <a:tint val="75000"/>
                  </a:schemeClr>
                </a:solidFill>
              </a:defRPr>
            </a:lvl3pPr>
            <a:lvl4pPr marL="1428659" indent="0">
              <a:buNone/>
              <a:defRPr sz="1458">
                <a:solidFill>
                  <a:schemeClr val="tx1">
                    <a:tint val="75000"/>
                  </a:schemeClr>
                </a:solidFill>
              </a:defRPr>
            </a:lvl4pPr>
            <a:lvl5pPr marL="1904878" indent="0">
              <a:buNone/>
              <a:defRPr sz="1458">
                <a:solidFill>
                  <a:schemeClr val="tx1">
                    <a:tint val="75000"/>
                  </a:schemeClr>
                </a:solidFill>
              </a:defRPr>
            </a:lvl5pPr>
            <a:lvl6pPr marL="2381098" indent="0">
              <a:buNone/>
              <a:defRPr sz="1458">
                <a:solidFill>
                  <a:schemeClr val="tx1">
                    <a:tint val="75000"/>
                  </a:schemeClr>
                </a:solidFill>
              </a:defRPr>
            </a:lvl6pPr>
            <a:lvl7pPr marL="2857317" indent="0">
              <a:buNone/>
              <a:defRPr sz="1458">
                <a:solidFill>
                  <a:schemeClr val="tx1">
                    <a:tint val="75000"/>
                  </a:schemeClr>
                </a:solidFill>
              </a:defRPr>
            </a:lvl7pPr>
            <a:lvl8pPr marL="3333537" indent="0">
              <a:buNone/>
              <a:defRPr sz="1458">
                <a:solidFill>
                  <a:schemeClr val="tx1">
                    <a:tint val="75000"/>
                  </a:schemeClr>
                </a:solidFill>
              </a:defRPr>
            </a:lvl8pPr>
            <a:lvl9pPr marL="3809756" indent="0">
              <a:buNone/>
              <a:defRPr sz="1458">
                <a:solidFill>
                  <a:schemeClr val="tx1">
                    <a:tint val="75000"/>
                  </a:schemeClr>
                </a:solidFill>
              </a:defRPr>
            </a:lvl9pPr>
          </a:lstStyle>
          <a:p>
            <a:pPr lvl="0"/>
            <a:r>
              <a:rPr lang="en-GB"/>
              <a:t>Click to edit Master text styles</a:t>
            </a:r>
          </a:p>
        </p:txBody>
      </p:sp>
    </p:spTree>
    <p:extLst>
      <p:ext uri="{BB962C8B-B14F-4D97-AF65-F5344CB8AC3E}">
        <p14:creationId xmlns:p14="http://schemas.microsoft.com/office/powerpoint/2010/main" val="3903529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31" y="273050"/>
            <a:ext cx="4011247" cy="1162050"/>
          </a:xfrm>
        </p:spPr>
        <p:txBody>
          <a:bodyPr anchor="b"/>
          <a:lstStyle>
            <a:lvl1pPr algn="l">
              <a:defRPr sz="1562" b="1"/>
            </a:lvl1pPr>
          </a:lstStyle>
          <a:p>
            <a:r>
              <a:rPr lang="en-US"/>
              <a:t>Click to edit Master title style</a:t>
            </a:r>
            <a:endParaRPr lang="en-GB"/>
          </a:p>
        </p:txBody>
      </p:sp>
      <p:sp>
        <p:nvSpPr>
          <p:cNvPr id="3" name="Content Placeholder 2"/>
          <p:cNvSpPr>
            <a:spLocks noGrp="1"/>
          </p:cNvSpPr>
          <p:nvPr>
            <p:ph idx="1"/>
          </p:nvPr>
        </p:nvSpPr>
        <p:spPr>
          <a:xfrm>
            <a:off x="4767384" y="273061"/>
            <a:ext cx="6815016" cy="5853113"/>
          </a:xfrm>
        </p:spPr>
        <p:txBody>
          <a:bodyPr/>
          <a:lstStyle>
            <a:lvl1pPr>
              <a:defRPr sz="2500"/>
            </a:lvl1pPr>
            <a:lvl2pPr>
              <a:defRPr sz="2187"/>
            </a:lvl2pPr>
            <a:lvl3pPr>
              <a:defRPr sz="1875"/>
            </a:lvl3pPr>
            <a:lvl4pPr>
              <a:defRPr sz="1562"/>
            </a:lvl4pPr>
            <a:lvl5pPr>
              <a:defRPr sz="1562"/>
            </a:lvl5pPr>
            <a:lvl6pPr>
              <a:defRPr sz="1562"/>
            </a:lvl6pPr>
            <a:lvl7pPr>
              <a:defRPr sz="1562"/>
            </a:lvl7pPr>
            <a:lvl8pPr>
              <a:defRPr sz="1562"/>
            </a:lvl8pPr>
            <a:lvl9pPr>
              <a:defRPr sz="156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31" y="1435113"/>
            <a:ext cx="4011247" cy="4691063"/>
          </a:xfrm>
        </p:spPr>
        <p:txBody>
          <a:bodyPr/>
          <a:lstStyle>
            <a:lvl1pPr marL="0" indent="0">
              <a:buNone/>
              <a:defRPr sz="1094"/>
            </a:lvl1pPr>
            <a:lvl2pPr marL="357165" indent="0">
              <a:buNone/>
              <a:defRPr sz="938"/>
            </a:lvl2pPr>
            <a:lvl3pPr marL="714329" indent="0">
              <a:buNone/>
              <a:defRPr sz="782"/>
            </a:lvl3pPr>
            <a:lvl4pPr marL="1071494" indent="0">
              <a:buNone/>
              <a:defRPr sz="703"/>
            </a:lvl4pPr>
            <a:lvl5pPr marL="1428659" indent="0">
              <a:buNone/>
              <a:defRPr sz="703"/>
            </a:lvl5pPr>
            <a:lvl6pPr marL="1785824" indent="0">
              <a:buNone/>
              <a:defRPr sz="703"/>
            </a:lvl6pPr>
            <a:lvl7pPr marL="2142988" indent="0">
              <a:buNone/>
              <a:defRPr sz="703"/>
            </a:lvl7pPr>
            <a:lvl8pPr marL="2500153" indent="0">
              <a:buNone/>
              <a:defRPr sz="703"/>
            </a:lvl8pPr>
            <a:lvl9pPr marL="2857317" indent="0">
              <a:buNone/>
              <a:defRPr sz="703"/>
            </a:lvl9pPr>
          </a:lstStyle>
          <a:p>
            <a:pPr lvl="0"/>
            <a:r>
              <a:rPr lang="en-US"/>
              <a:t>Click to edit Master text styles</a:t>
            </a:r>
          </a:p>
        </p:txBody>
      </p:sp>
    </p:spTree>
    <p:extLst>
      <p:ext uri="{BB962C8B-B14F-4D97-AF65-F5344CB8AC3E}">
        <p14:creationId xmlns:p14="http://schemas.microsoft.com/office/powerpoint/2010/main" val="42554456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557" y="4800600"/>
            <a:ext cx="7315200" cy="566738"/>
          </a:xfrm>
        </p:spPr>
        <p:txBody>
          <a:bodyPr anchor="b"/>
          <a:lstStyle>
            <a:lvl1pPr algn="l">
              <a:defRPr sz="1562" b="1"/>
            </a:lvl1pPr>
          </a:lstStyle>
          <a:p>
            <a:r>
              <a:rPr lang="en-US"/>
              <a:t>Click to edit Master title style</a:t>
            </a:r>
            <a:endParaRPr lang="en-GB"/>
          </a:p>
        </p:txBody>
      </p:sp>
      <p:sp>
        <p:nvSpPr>
          <p:cNvPr id="3" name="Picture Placeholder 2"/>
          <p:cNvSpPr>
            <a:spLocks noGrp="1"/>
          </p:cNvSpPr>
          <p:nvPr>
            <p:ph type="pic" idx="1"/>
          </p:nvPr>
        </p:nvSpPr>
        <p:spPr>
          <a:xfrm>
            <a:off x="2389557" y="612775"/>
            <a:ext cx="7315200" cy="4114800"/>
          </a:xfrm>
        </p:spPr>
        <p:txBody>
          <a:bodyPr/>
          <a:lstStyle>
            <a:lvl1pPr marL="0" indent="0">
              <a:buNone/>
              <a:defRPr sz="2500"/>
            </a:lvl1pPr>
            <a:lvl2pPr marL="357165" indent="0">
              <a:buNone/>
              <a:defRPr sz="2187"/>
            </a:lvl2pPr>
            <a:lvl3pPr marL="714329" indent="0">
              <a:buNone/>
              <a:defRPr sz="1875"/>
            </a:lvl3pPr>
            <a:lvl4pPr marL="1071494" indent="0">
              <a:buNone/>
              <a:defRPr sz="1562"/>
            </a:lvl4pPr>
            <a:lvl5pPr marL="1428659" indent="0">
              <a:buNone/>
              <a:defRPr sz="1562"/>
            </a:lvl5pPr>
            <a:lvl6pPr marL="1785824" indent="0">
              <a:buNone/>
              <a:defRPr sz="1562"/>
            </a:lvl6pPr>
            <a:lvl7pPr marL="2142988" indent="0">
              <a:buNone/>
              <a:defRPr sz="1562"/>
            </a:lvl7pPr>
            <a:lvl8pPr marL="2500153" indent="0">
              <a:buNone/>
              <a:defRPr sz="1562"/>
            </a:lvl8pPr>
            <a:lvl9pPr marL="2857317" indent="0">
              <a:buNone/>
              <a:defRPr sz="1562"/>
            </a:lvl9pPr>
          </a:lstStyle>
          <a:p>
            <a:pPr lvl="0"/>
            <a:endParaRPr lang="en-GB" noProof="0" dirty="0"/>
          </a:p>
        </p:txBody>
      </p:sp>
      <p:sp>
        <p:nvSpPr>
          <p:cNvPr id="4" name="Text Placeholder 3"/>
          <p:cNvSpPr>
            <a:spLocks noGrp="1"/>
          </p:cNvSpPr>
          <p:nvPr>
            <p:ph type="body" sz="half" idx="2"/>
          </p:nvPr>
        </p:nvSpPr>
        <p:spPr>
          <a:xfrm>
            <a:off x="2389557" y="5367338"/>
            <a:ext cx="7315200" cy="804862"/>
          </a:xfrm>
        </p:spPr>
        <p:txBody>
          <a:bodyPr/>
          <a:lstStyle>
            <a:lvl1pPr marL="0" indent="0">
              <a:buNone/>
              <a:defRPr sz="1094"/>
            </a:lvl1pPr>
            <a:lvl2pPr marL="357165" indent="0">
              <a:buNone/>
              <a:defRPr sz="938"/>
            </a:lvl2pPr>
            <a:lvl3pPr marL="714329" indent="0">
              <a:buNone/>
              <a:defRPr sz="782"/>
            </a:lvl3pPr>
            <a:lvl4pPr marL="1071494" indent="0">
              <a:buNone/>
              <a:defRPr sz="703"/>
            </a:lvl4pPr>
            <a:lvl5pPr marL="1428659" indent="0">
              <a:buNone/>
              <a:defRPr sz="703"/>
            </a:lvl5pPr>
            <a:lvl6pPr marL="1785824" indent="0">
              <a:buNone/>
              <a:defRPr sz="703"/>
            </a:lvl6pPr>
            <a:lvl7pPr marL="2142988" indent="0">
              <a:buNone/>
              <a:defRPr sz="703"/>
            </a:lvl7pPr>
            <a:lvl8pPr marL="2500153" indent="0">
              <a:buNone/>
              <a:defRPr sz="703"/>
            </a:lvl8pPr>
            <a:lvl9pPr marL="2857317" indent="0">
              <a:buNone/>
              <a:defRPr sz="703"/>
            </a:lvl9pPr>
          </a:lstStyle>
          <a:p>
            <a:pPr lvl="0"/>
            <a:r>
              <a:rPr lang="en-US"/>
              <a:t>Click to edit Master text styles</a:t>
            </a:r>
          </a:p>
        </p:txBody>
      </p:sp>
    </p:spTree>
    <p:extLst>
      <p:ext uri="{BB962C8B-B14F-4D97-AF65-F5344CB8AC3E}">
        <p14:creationId xmlns:p14="http://schemas.microsoft.com/office/powerpoint/2010/main" val="30095082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2590082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31" y="274640"/>
            <a:ext cx="8042031"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511014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600" y="274640"/>
            <a:ext cx="10972800" cy="58515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5981203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0181" y="274521"/>
            <a:ext cx="10971641" cy="633377"/>
          </a:xfrm>
        </p:spPr>
        <p:txBody>
          <a:bodyPr/>
          <a:lstStyle/>
          <a:p>
            <a:r>
              <a:rPr lang="en-US"/>
              <a:t>Click to edit Master title style</a:t>
            </a:r>
            <a:endParaRPr lang="en-GB"/>
          </a:p>
        </p:txBody>
      </p:sp>
      <p:sp>
        <p:nvSpPr>
          <p:cNvPr id="3" name="Table Placeholder 2"/>
          <p:cNvSpPr>
            <a:spLocks noGrp="1"/>
          </p:cNvSpPr>
          <p:nvPr>
            <p:ph type="tbl" idx="1"/>
          </p:nvPr>
        </p:nvSpPr>
        <p:spPr>
          <a:xfrm>
            <a:off x="610181" y="1600808"/>
            <a:ext cx="10971641" cy="4524593"/>
          </a:xfrm>
        </p:spPr>
        <p:txBody>
          <a:bodyPr/>
          <a:lstStyle/>
          <a:p>
            <a:pPr lvl="0"/>
            <a:endParaRPr lang="en-GB" noProof="0" dirty="0"/>
          </a:p>
        </p:txBody>
      </p:sp>
    </p:spTree>
    <p:extLst>
      <p:ext uri="{BB962C8B-B14F-4D97-AF65-F5344CB8AC3E}">
        <p14:creationId xmlns:p14="http://schemas.microsoft.com/office/powerpoint/2010/main" val="35359909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Slide Number Placeholder 2"/>
          <p:cNvSpPr>
            <a:spLocks noGrp="1"/>
          </p:cNvSpPr>
          <p:nvPr>
            <p:ph type="sldNum" sz="quarter" idx="10"/>
          </p:nvPr>
        </p:nvSpPr>
        <p:spPr/>
        <p:txBody>
          <a:bodyPr/>
          <a:lstStyle>
            <a:lvl1pPr>
              <a:defRPr/>
            </a:lvl1pPr>
          </a:lstStyle>
          <a:p>
            <a:pPr>
              <a:defRPr/>
            </a:pPr>
            <a:fld id="{EDEB61FB-62DD-48C6-8065-9CFA3C109048}" type="slidenum">
              <a:rPr lang="en-GB" altLang="en-US"/>
              <a:pPr>
                <a:defRPr/>
              </a:pPr>
              <a:t>‹#›</a:t>
            </a:fld>
            <a:endParaRPr lang="en-GB" altLang="en-US" dirty="0"/>
          </a:p>
        </p:txBody>
      </p:sp>
    </p:spTree>
    <p:extLst>
      <p:ext uri="{BB962C8B-B14F-4D97-AF65-F5344CB8AC3E}">
        <p14:creationId xmlns:p14="http://schemas.microsoft.com/office/powerpoint/2010/main" val="1290669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3" y="3886200"/>
            <a:ext cx="8534400" cy="1752600"/>
          </a:xfrm>
        </p:spPr>
        <p:txBody>
          <a:bodyPr/>
          <a:lstStyle>
            <a:lvl1pPr marL="0" indent="0" algn="ctr">
              <a:buNone/>
              <a:defRPr/>
            </a:lvl1pPr>
            <a:lvl2pPr marL="357165" indent="0" algn="ctr">
              <a:buNone/>
              <a:defRPr/>
            </a:lvl2pPr>
            <a:lvl3pPr marL="714329" indent="0" algn="ctr">
              <a:buNone/>
              <a:defRPr/>
            </a:lvl3pPr>
            <a:lvl4pPr marL="1071494" indent="0" algn="ctr">
              <a:buNone/>
              <a:defRPr/>
            </a:lvl4pPr>
            <a:lvl5pPr marL="1428659" indent="0" algn="ctr">
              <a:buNone/>
              <a:defRPr/>
            </a:lvl5pPr>
            <a:lvl6pPr marL="1785824" indent="0" algn="ctr">
              <a:buNone/>
              <a:defRPr/>
            </a:lvl6pPr>
            <a:lvl7pPr marL="2142988" indent="0" algn="ctr">
              <a:buNone/>
              <a:defRPr/>
            </a:lvl7pPr>
            <a:lvl8pPr marL="2500153" indent="0" algn="ctr">
              <a:buNone/>
              <a:defRPr/>
            </a:lvl8pPr>
            <a:lvl9pPr marL="2857317" indent="0" algn="ctr">
              <a:buNone/>
              <a:defRPr/>
            </a:lvl9pPr>
          </a:lstStyle>
          <a:p>
            <a:r>
              <a:rPr lang="en-US"/>
              <a:t>Click to edit Master subtitle style</a:t>
            </a:r>
            <a:endParaRPr lang="en-GB"/>
          </a:p>
        </p:txBody>
      </p:sp>
    </p:spTree>
    <p:extLst>
      <p:ext uri="{BB962C8B-B14F-4D97-AF65-F5344CB8AC3E}">
        <p14:creationId xmlns:p14="http://schemas.microsoft.com/office/powerpoint/2010/main" val="10524601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603900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247" y="4406927"/>
            <a:ext cx="10363200" cy="1362075"/>
          </a:xfrm>
        </p:spPr>
        <p:txBody>
          <a:bodyPr anchor="t"/>
          <a:lstStyle>
            <a:lvl1pPr algn="l">
              <a:defRPr sz="3125" b="1" cap="all"/>
            </a:lvl1pPr>
          </a:lstStyle>
          <a:p>
            <a:r>
              <a:rPr lang="en-US"/>
              <a:t>Click to edit Master title style</a:t>
            </a:r>
            <a:endParaRPr lang="en-GB"/>
          </a:p>
        </p:txBody>
      </p:sp>
      <p:sp>
        <p:nvSpPr>
          <p:cNvPr id="3" name="Text Placeholder 2"/>
          <p:cNvSpPr>
            <a:spLocks noGrp="1"/>
          </p:cNvSpPr>
          <p:nvPr>
            <p:ph type="body" idx="1"/>
          </p:nvPr>
        </p:nvSpPr>
        <p:spPr>
          <a:xfrm>
            <a:off x="963247" y="2906720"/>
            <a:ext cx="10363200" cy="1500187"/>
          </a:xfrm>
        </p:spPr>
        <p:txBody>
          <a:bodyPr anchor="b"/>
          <a:lstStyle>
            <a:lvl1pPr marL="0" indent="0">
              <a:buNone/>
              <a:defRPr sz="1562"/>
            </a:lvl1pPr>
            <a:lvl2pPr marL="357165" indent="0">
              <a:buNone/>
              <a:defRPr sz="1406"/>
            </a:lvl2pPr>
            <a:lvl3pPr marL="714329" indent="0">
              <a:buNone/>
              <a:defRPr sz="1250"/>
            </a:lvl3pPr>
            <a:lvl4pPr marL="1071494" indent="0">
              <a:buNone/>
              <a:defRPr sz="1094"/>
            </a:lvl4pPr>
            <a:lvl5pPr marL="1428659" indent="0">
              <a:buNone/>
              <a:defRPr sz="1094"/>
            </a:lvl5pPr>
            <a:lvl6pPr marL="1785824" indent="0">
              <a:buNone/>
              <a:defRPr sz="1094"/>
            </a:lvl6pPr>
            <a:lvl7pPr marL="2142988" indent="0">
              <a:buNone/>
              <a:defRPr sz="1094"/>
            </a:lvl7pPr>
            <a:lvl8pPr marL="2500153" indent="0">
              <a:buNone/>
              <a:defRPr sz="1094"/>
            </a:lvl8pPr>
            <a:lvl9pPr marL="2857317" indent="0">
              <a:buNone/>
              <a:defRPr sz="1094"/>
            </a:lvl9pPr>
          </a:lstStyle>
          <a:p>
            <a:pPr lvl="0"/>
            <a:r>
              <a:rPr lang="en-US"/>
              <a:t>Click to edit Master text styles</a:t>
            </a:r>
          </a:p>
        </p:txBody>
      </p:sp>
    </p:spTree>
    <p:extLst>
      <p:ext uri="{BB962C8B-B14F-4D97-AF65-F5344CB8AC3E}">
        <p14:creationId xmlns:p14="http://schemas.microsoft.com/office/powerpoint/2010/main" val="212197695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34" y="1600225"/>
            <a:ext cx="5392615" cy="4525963"/>
          </a:xfrm>
        </p:spPr>
        <p:txBody>
          <a:bodyPr/>
          <a:lstStyle>
            <a:lvl1pPr>
              <a:defRPr sz="2187"/>
            </a:lvl1pPr>
            <a:lvl2pPr>
              <a:defRPr sz="1875"/>
            </a:lvl2pPr>
            <a:lvl3pPr>
              <a:defRPr sz="1562"/>
            </a:lvl3pPr>
            <a:lvl4pPr>
              <a:defRPr sz="1406"/>
            </a:lvl4pPr>
            <a:lvl5pPr>
              <a:defRPr sz="1406"/>
            </a:lvl5pPr>
            <a:lvl6pPr>
              <a:defRPr sz="1406"/>
            </a:lvl6pPr>
            <a:lvl7pPr>
              <a:defRPr sz="1406"/>
            </a:lvl7pPr>
            <a:lvl8pPr>
              <a:defRPr sz="1406"/>
            </a:lvl8pPr>
            <a:lvl9pPr>
              <a:defRPr sz="140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89818" y="1600225"/>
            <a:ext cx="5392615" cy="4525963"/>
          </a:xfrm>
        </p:spPr>
        <p:txBody>
          <a:bodyPr/>
          <a:lstStyle>
            <a:lvl1pPr>
              <a:defRPr sz="2187"/>
            </a:lvl1pPr>
            <a:lvl2pPr>
              <a:defRPr sz="1875"/>
            </a:lvl2pPr>
            <a:lvl3pPr>
              <a:defRPr sz="1562"/>
            </a:lvl3pPr>
            <a:lvl4pPr>
              <a:defRPr sz="1406"/>
            </a:lvl4pPr>
            <a:lvl5pPr>
              <a:defRPr sz="1406"/>
            </a:lvl5pPr>
            <a:lvl6pPr>
              <a:defRPr sz="1406"/>
            </a:lvl6pPr>
            <a:lvl7pPr>
              <a:defRPr sz="1406"/>
            </a:lvl7pPr>
            <a:lvl8pPr>
              <a:defRPr sz="1406"/>
            </a:lvl8pPr>
            <a:lvl9pPr>
              <a:defRPr sz="1406"/>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3386521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48"/>
            <a:ext cx="109728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1" y="1535112"/>
            <a:ext cx="5386755" cy="639762"/>
          </a:xfrm>
        </p:spPr>
        <p:txBody>
          <a:bodyPr anchor="b"/>
          <a:lstStyle>
            <a:lvl1pPr marL="0" indent="0">
              <a:buNone/>
              <a:defRPr sz="1875" b="1"/>
            </a:lvl1pPr>
            <a:lvl2pPr marL="357165" indent="0">
              <a:buNone/>
              <a:defRPr sz="1562" b="1"/>
            </a:lvl2pPr>
            <a:lvl3pPr marL="714329" indent="0">
              <a:buNone/>
              <a:defRPr sz="1406" b="1"/>
            </a:lvl3pPr>
            <a:lvl4pPr marL="1071494" indent="0">
              <a:buNone/>
              <a:defRPr sz="1250" b="1"/>
            </a:lvl4pPr>
            <a:lvl5pPr marL="1428659" indent="0">
              <a:buNone/>
              <a:defRPr sz="1250" b="1"/>
            </a:lvl5pPr>
            <a:lvl6pPr marL="1785824" indent="0">
              <a:buNone/>
              <a:defRPr sz="1250" b="1"/>
            </a:lvl6pPr>
            <a:lvl7pPr marL="2142988" indent="0">
              <a:buNone/>
              <a:defRPr sz="1250" b="1"/>
            </a:lvl7pPr>
            <a:lvl8pPr marL="2500153" indent="0">
              <a:buNone/>
              <a:defRPr sz="1250" b="1"/>
            </a:lvl8pPr>
            <a:lvl9pPr marL="2857317" indent="0">
              <a:buNone/>
              <a:defRPr sz="1250" b="1"/>
            </a:lvl9pPr>
          </a:lstStyle>
          <a:p>
            <a:pPr lvl="0"/>
            <a:r>
              <a:rPr lang="en-US"/>
              <a:t>Click to edit Master text styles</a:t>
            </a:r>
          </a:p>
        </p:txBody>
      </p:sp>
      <p:sp>
        <p:nvSpPr>
          <p:cNvPr id="4" name="Content Placeholder 3"/>
          <p:cNvSpPr>
            <a:spLocks noGrp="1"/>
          </p:cNvSpPr>
          <p:nvPr>
            <p:ph sz="half" idx="2"/>
          </p:nvPr>
        </p:nvSpPr>
        <p:spPr>
          <a:xfrm>
            <a:off x="609601" y="2174875"/>
            <a:ext cx="5386755" cy="3951288"/>
          </a:xfrm>
        </p:spPr>
        <p:txBody>
          <a:bodyPr/>
          <a:lstStyle>
            <a:lvl1pPr>
              <a:defRPr sz="1875"/>
            </a:lvl1pPr>
            <a:lvl2pPr>
              <a:defRPr sz="1562"/>
            </a:lvl2pPr>
            <a:lvl3pPr>
              <a:defRPr sz="1406"/>
            </a:lvl3pPr>
            <a:lvl4pPr>
              <a:defRPr sz="1250"/>
            </a:lvl4pPr>
            <a:lvl5pPr>
              <a:defRPr sz="1250"/>
            </a:lvl5pPr>
            <a:lvl6pPr>
              <a:defRPr sz="1250"/>
            </a:lvl6pPr>
            <a:lvl7pPr>
              <a:defRPr sz="1250"/>
            </a:lvl7pPr>
            <a:lvl8pPr>
              <a:defRPr sz="1250"/>
            </a:lvl8pPr>
            <a:lvl9pPr>
              <a:defRPr sz="12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695" y="1535112"/>
            <a:ext cx="5388708" cy="639762"/>
          </a:xfrm>
        </p:spPr>
        <p:txBody>
          <a:bodyPr anchor="b"/>
          <a:lstStyle>
            <a:lvl1pPr marL="0" indent="0">
              <a:buNone/>
              <a:defRPr sz="1875" b="1"/>
            </a:lvl1pPr>
            <a:lvl2pPr marL="357165" indent="0">
              <a:buNone/>
              <a:defRPr sz="1562" b="1"/>
            </a:lvl2pPr>
            <a:lvl3pPr marL="714329" indent="0">
              <a:buNone/>
              <a:defRPr sz="1406" b="1"/>
            </a:lvl3pPr>
            <a:lvl4pPr marL="1071494" indent="0">
              <a:buNone/>
              <a:defRPr sz="1250" b="1"/>
            </a:lvl4pPr>
            <a:lvl5pPr marL="1428659" indent="0">
              <a:buNone/>
              <a:defRPr sz="1250" b="1"/>
            </a:lvl5pPr>
            <a:lvl6pPr marL="1785824" indent="0">
              <a:buNone/>
              <a:defRPr sz="1250" b="1"/>
            </a:lvl6pPr>
            <a:lvl7pPr marL="2142988" indent="0">
              <a:buNone/>
              <a:defRPr sz="1250" b="1"/>
            </a:lvl7pPr>
            <a:lvl8pPr marL="2500153" indent="0">
              <a:buNone/>
              <a:defRPr sz="1250" b="1"/>
            </a:lvl8pPr>
            <a:lvl9pPr marL="2857317" indent="0">
              <a:buNone/>
              <a:defRPr sz="1250" b="1"/>
            </a:lvl9pPr>
          </a:lstStyle>
          <a:p>
            <a:pPr lvl="0"/>
            <a:r>
              <a:rPr lang="en-US"/>
              <a:t>Click to edit Master text styles</a:t>
            </a:r>
          </a:p>
        </p:txBody>
      </p:sp>
      <p:sp>
        <p:nvSpPr>
          <p:cNvPr id="6" name="Content Placeholder 5"/>
          <p:cNvSpPr>
            <a:spLocks noGrp="1"/>
          </p:cNvSpPr>
          <p:nvPr>
            <p:ph sz="quarter" idx="4"/>
          </p:nvPr>
        </p:nvSpPr>
        <p:spPr>
          <a:xfrm>
            <a:off x="6193695" y="2174875"/>
            <a:ext cx="5388708" cy="3951288"/>
          </a:xfrm>
        </p:spPr>
        <p:txBody>
          <a:bodyPr/>
          <a:lstStyle>
            <a:lvl1pPr>
              <a:defRPr sz="1875"/>
            </a:lvl1pPr>
            <a:lvl2pPr>
              <a:defRPr sz="1562"/>
            </a:lvl2pPr>
            <a:lvl3pPr>
              <a:defRPr sz="1406"/>
            </a:lvl3pPr>
            <a:lvl4pPr>
              <a:defRPr sz="1250"/>
            </a:lvl4pPr>
            <a:lvl5pPr>
              <a:defRPr sz="1250"/>
            </a:lvl5pPr>
            <a:lvl6pPr>
              <a:defRPr sz="1250"/>
            </a:lvl6pPr>
            <a:lvl7pPr>
              <a:defRPr sz="1250"/>
            </a:lvl7pPr>
            <a:lvl8pPr>
              <a:defRPr sz="1250"/>
            </a:lvl8pPr>
            <a:lvl9pPr>
              <a:defRPr sz="12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3670155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7985632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44421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 Id="rId9"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image" Target="../media/image7.jpeg"/><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image" Target="../media/image6.png"/><Relationship Id="rId2" Type="http://schemas.openxmlformats.org/officeDocument/2006/relationships/slideLayout" Target="../slideLayouts/slideLayout4.xml"/><Relationship Id="rId16" Type="http://schemas.openxmlformats.org/officeDocument/2006/relationships/tags" Target="../tags/tag3.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tags" Target="../tags/tag2.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89"/>
          <p:cNvGraphicFramePr>
            <a:graphicFrameLocks noChangeAspect="1"/>
          </p:cNvGraphicFramePr>
          <p:nvPr>
            <p:custDataLst>
              <p:tags r:id="rId5"/>
            </p:custDataLst>
          </p:nvPr>
        </p:nvGraphicFramePr>
        <p:xfrm>
          <a:off x="1655" y="1655"/>
          <a:ext cx="1653" cy="1653"/>
        </p:xfrm>
        <a:graphic>
          <a:graphicData uri="http://schemas.openxmlformats.org/presentationml/2006/ole">
            <mc:AlternateContent xmlns:mc="http://schemas.openxmlformats.org/markup-compatibility/2006">
              <mc:Choice xmlns:v="urn:schemas-microsoft-com:vml" Requires="v">
                <p:oleObj spid="_x0000_s1056" name="think-cell Slide" r:id="rId6" imgW="360" imgH="360" progId="">
                  <p:embed/>
                </p:oleObj>
              </mc:Choice>
              <mc:Fallback>
                <p:oleObj name="think-cell Slide" r:id="rId6" imgW="360" imgH="360" progId="">
                  <p:embed/>
                  <p:pic>
                    <p:nvPicPr>
                      <p:cNvPr id="1026" name="Object 28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55" y="1655"/>
                        <a:ext cx="1653" cy="1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27" name="Picture 4" descr="_0000_NHSBT_Ribbon_NHS_Blue_RGB_WhiteAbv_DRAFT.png"/>
          <p:cNvPicPr>
            <a:picLocks noChangeAspect="1"/>
          </p:cNvPicPr>
          <p:nvPr/>
        </p:nvPicPr>
        <p:blipFill>
          <a:blip r:embed="rId8">
            <a:extLst>
              <a:ext uri="{28A0092B-C50C-407E-A947-70E740481C1C}">
                <a14:useLocalDpi xmlns:a14="http://schemas.microsoft.com/office/drawing/2010/main" val="0"/>
              </a:ext>
            </a:extLst>
          </a:blip>
          <a:srcRect l="2162" t="9860" r="3767"/>
          <a:stretch>
            <a:fillRect/>
          </a:stretch>
        </p:blipFill>
        <p:spPr bwMode="auto">
          <a:xfrm>
            <a:off x="14883" y="4911565"/>
            <a:ext cx="12177117" cy="20225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Title Placeholder 1"/>
          <p:cNvSpPr>
            <a:spLocks noGrp="1"/>
          </p:cNvSpPr>
          <p:nvPr>
            <p:ph type="title"/>
          </p:nvPr>
        </p:nvSpPr>
        <p:spPr bwMode="auto">
          <a:xfrm>
            <a:off x="621754" y="608571"/>
            <a:ext cx="10948492" cy="1060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Master title style</a:t>
            </a:r>
          </a:p>
        </p:txBody>
      </p:sp>
      <p:sp>
        <p:nvSpPr>
          <p:cNvPr id="1029" name="Text Placeholder 2"/>
          <p:cNvSpPr>
            <a:spLocks noGrp="1"/>
          </p:cNvSpPr>
          <p:nvPr>
            <p:ph type="body" idx="1"/>
          </p:nvPr>
        </p:nvSpPr>
        <p:spPr bwMode="auto">
          <a:xfrm>
            <a:off x="621754" y="1668610"/>
            <a:ext cx="10948492" cy="4223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p:txBody>
      </p:sp>
      <p:sp>
        <p:nvSpPr>
          <p:cNvPr id="2" name="TextBox 3"/>
          <p:cNvSpPr txBox="1">
            <a:spLocks noChangeArrowheads="1"/>
          </p:cNvSpPr>
          <p:nvPr/>
        </p:nvSpPr>
        <p:spPr bwMode="auto">
          <a:xfrm>
            <a:off x="7818226" y="-2427669"/>
            <a:ext cx="246282" cy="507189"/>
          </a:xfrm>
          <a:prstGeom prst="rect">
            <a:avLst/>
          </a:prstGeom>
          <a:noFill/>
          <a:ln>
            <a:noFill/>
          </a:ln>
        </p:spPr>
        <p:txBody>
          <a:bodyPr wrap="none" lIns="121916" tIns="60959" rIns="121916" bIns="60959">
            <a:spAutoFit/>
          </a:bodyPr>
          <a:lstStyle>
            <a:lvl1pPr eaLnBrk="0" hangingPunct="0">
              <a:defRPr sz="2300">
                <a:solidFill>
                  <a:schemeClr val="tx1"/>
                </a:solidFill>
                <a:latin typeface="Arial" charset="0"/>
                <a:ea typeface="ＭＳ Ｐゴシック" charset="0"/>
                <a:cs typeface="ＭＳ Ｐゴシック" charset="0"/>
              </a:defRPr>
            </a:lvl1pPr>
            <a:lvl2pPr marL="742950" indent="-285750" eaLnBrk="0" hangingPunct="0">
              <a:defRPr sz="2300">
                <a:solidFill>
                  <a:schemeClr val="tx1"/>
                </a:solidFill>
                <a:latin typeface="Arial" charset="0"/>
                <a:ea typeface="ＭＳ Ｐゴシック" charset="0"/>
              </a:defRPr>
            </a:lvl2pPr>
            <a:lvl3pPr marL="1143000" indent="-228600" eaLnBrk="0" hangingPunct="0">
              <a:defRPr sz="2300">
                <a:solidFill>
                  <a:schemeClr val="tx1"/>
                </a:solidFill>
                <a:latin typeface="Arial" charset="0"/>
                <a:ea typeface="ＭＳ Ｐゴシック" charset="0"/>
              </a:defRPr>
            </a:lvl3pPr>
            <a:lvl4pPr marL="1600200" indent="-228600" eaLnBrk="0" hangingPunct="0">
              <a:defRPr sz="2300">
                <a:solidFill>
                  <a:schemeClr val="tx1"/>
                </a:solidFill>
                <a:latin typeface="Arial" charset="0"/>
                <a:ea typeface="ＭＳ Ｐゴシック" charset="0"/>
              </a:defRPr>
            </a:lvl4pPr>
            <a:lvl5pPr marL="2057400" indent="-228600" eaLnBrk="0" hangingPunct="0">
              <a:defRPr sz="2300">
                <a:solidFill>
                  <a:schemeClr val="tx1"/>
                </a:solidFill>
                <a:latin typeface="Arial" charset="0"/>
                <a:ea typeface="ＭＳ Ｐゴシック" charset="0"/>
              </a:defRPr>
            </a:lvl5pPr>
            <a:lvl6pPr marL="2514600" indent="-228600" defTabSz="1169988" eaLnBrk="0" fontAlgn="base" hangingPunct="0">
              <a:spcBef>
                <a:spcPct val="0"/>
              </a:spcBef>
              <a:spcAft>
                <a:spcPct val="0"/>
              </a:spcAft>
              <a:defRPr sz="2300">
                <a:solidFill>
                  <a:schemeClr val="tx1"/>
                </a:solidFill>
                <a:latin typeface="Arial" charset="0"/>
                <a:ea typeface="ＭＳ Ｐゴシック" charset="0"/>
              </a:defRPr>
            </a:lvl6pPr>
            <a:lvl7pPr marL="2971800" indent="-228600" defTabSz="1169988" eaLnBrk="0" fontAlgn="base" hangingPunct="0">
              <a:spcBef>
                <a:spcPct val="0"/>
              </a:spcBef>
              <a:spcAft>
                <a:spcPct val="0"/>
              </a:spcAft>
              <a:defRPr sz="2300">
                <a:solidFill>
                  <a:schemeClr val="tx1"/>
                </a:solidFill>
                <a:latin typeface="Arial" charset="0"/>
                <a:ea typeface="ＭＳ Ｐゴシック" charset="0"/>
              </a:defRPr>
            </a:lvl7pPr>
            <a:lvl8pPr marL="3429000" indent="-228600" defTabSz="1169988" eaLnBrk="0" fontAlgn="base" hangingPunct="0">
              <a:spcBef>
                <a:spcPct val="0"/>
              </a:spcBef>
              <a:spcAft>
                <a:spcPct val="0"/>
              </a:spcAft>
              <a:defRPr sz="2300">
                <a:solidFill>
                  <a:schemeClr val="tx1"/>
                </a:solidFill>
                <a:latin typeface="Arial" charset="0"/>
                <a:ea typeface="ＭＳ Ｐゴシック" charset="0"/>
              </a:defRPr>
            </a:lvl8pPr>
            <a:lvl9pPr marL="3886200" indent="-228600" defTabSz="1169988" eaLnBrk="0" fontAlgn="base" hangingPunct="0">
              <a:spcBef>
                <a:spcPct val="0"/>
              </a:spcBef>
              <a:spcAft>
                <a:spcPct val="0"/>
              </a:spcAft>
              <a:defRPr sz="2300">
                <a:solidFill>
                  <a:schemeClr val="tx1"/>
                </a:solidFill>
                <a:latin typeface="Arial" charset="0"/>
                <a:ea typeface="ＭＳ Ｐゴシック" charset="0"/>
              </a:defRPr>
            </a:lvl9pPr>
          </a:lstStyle>
          <a:p>
            <a:pPr defTabSz="1218660" eaLnBrk="1" fontAlgn="base" hangingPunct="1">
              <a:spcBef>
                <a:spcPct val="0"/>
              </a:spcBef>
              <a:spcAft>
                <a:spcPct val="0"/>
              </a:spcAft>
              <a:defRPr/>
            </a:pPr>
            <a:endParaRPr lang="en-US" sz="2396" dirty="0">
              <a:solidFill>
                <a:srgbClr val="000000"/>
              </a:solidFill>
              <a:latin typeface="Trebuchet MS"/>
            </a:endParaRPr>
          </a:p>
        </p:txBody>
      </p:sp>
      <p:pic>
        <p:nvPicPr>
          <p:cNvPr id="1031" name="Picture 9" descr="NHSBT Colour_RGB.png"/>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0083658" y="238137"/>
            <a:ext cx="1799118" cy="428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lide Number Placeholder 2"/>
          <p:cNvSpPr>
            <a:spLocks noGrp="1"/>
          </p:cNvSpPr>
          <p:nvPr>
            <p:ph type="sldNum" sz="quarter" idx="4"/>
          </p:nvPr>
        </p:nvSpPr>
        <p:spPr>
          <a:xfrm>
            <a:off x="8737627" y="6356920"/>
            <a:ext cx="2844194" cy="363820"/>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50">
                <a:solidFill>
                  <a:srgbClr val="898989"/>
                </a:solidFill>
                <a:cs typeface="Arial" panose="020B0604020202020204" pitchFamily="34" charset="0"/>
              </a:defRPr>
            </a:lvl1pPr>
          </a:lstStyle>
          <a:p>
            <a:pPr defTabSz="1218660" fontAlgn="base">
              <a:spcBef>
                <a:spcPct val="0"/>
              </a:spcBef>
              <a:spcAft>
                <a:spcPct val="0"/>
              </a:spcAft>
              <a:defRPr/>
            </a:pPr>
            <a:fld id="{22F686B0-DF0E-4691-9096-E1094F66E968}" type="slidenum">
              <a:rPr lang="en-GB" altLang="en-US" smtClean="0">
                <a:latin typeface="Arial" panose="020B0604020202020204" pitchFamily="34" charset="0"/>
                <a:ea typeface="MS PGothic" panose="020B0600070205080204" pitchFamily="34" charset="-128"/>
              </a:rPr>
              <a:pPr defTabSz="1218660" fontAlgn="base">
                <a:spcBef>
                  <a:spcPct val="0"/>
                </a:spcBef>
                <a:spcAft>
                  <a:spcPct val="0"/>
                </a:spcAft>
                <a:defRPr/>
              </a:pPr>
              <a:t>‹#›</a:t>
            </a:fld>
            <a:endParaRPr lang="en-GB" altLang="en-US" dirty="0">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3975990049"/>
      </p:ext>
    </p:extLst>
  </p:cSld>
  <p:clrMap bg1="lt1" tx1="dk1" bg2="lt2" tx2="dk2" accent1="accent1" accent2="accent2" accent3="accent3" accent4="accent4" accent5="accent5" accent6="accent6" hlink="hlink" folHlink="folHlink"/>
  <p:sldLayoutIdLst>
    <p:sldLayoutId id="2147483661" r:id="rId1"/>
    <p:sldLayoutId id="2147483662" r:id="rId2"/>
  </p:sldLayoutIdLst>
  <p:hf sldNum="0" hdr="0"/>
  <p:txStyles>
    <p:titleStyle>
      <a:lvl1pPr algn="l" defTabSz="1218660" rtl="0" eaLnBrk="0" fontAlgn="base" hangingPunct="0">
        <a:spcBef>
          <a:spcPts val="795"/>
        </a:spcBef>
        <a:spcAft>
          <a:spcPct val="0"/>
        </a:spcAft>
        <a:defRPr sz="3125" kern="1200">
          <a:solidFill>
            <a:schemeClr val="tx2"/>
          </a:solidFill>
          <a:latin typeface="Trebuchet MS"/>
          <a:ea typeface="MS PGothic" panose="020B0600070205080204" pitchFamily="34" charset="-128"/>
          <a:cs typeface="MS PGothic" charset="0"/>
        </a:defRPr>
      </a:lvl1pPr>
      <a:lvl2pPr algn="l" defTabSz="1218660" rtl="0" eaLnBrk="0" fontAlgn="base" hangingPunct="0">
        <a:spcBef>
          <a:spcPts val="795"/>
        </a:spcBef>
        <a:spcAft>
          <a:spcPct val="0"/>
        </a:spcAft>
        <a:defRPr sz="3125">
          <a:solidFill>
            <a:schemeClr val="tx2"/>
          </a:solidFill>
          <a:latin typeface="Trebuchet MS" charset="0"/>
          <a:ea typeface="MS PGothic" panose="020B0600070205080204" pitchFamily="34" charset="-128"/>
          <a:cs typeface="MS PGothic" charset="0"/>
        </a:defRPr>
      </a:lvl2pPr>
      <a:lvl3pPr algn="l" defTabSz="1218660" rtl="0" eaLnBrk="0" fontAlgn="base" hangingPunct="0">
        <a:spcBef>
          <a:spcPts val="795"/>
        </a:spcBef>
        <a:spcAft>
          <a:spcPct val="0"/>
        </a:spcAft>
        <a:defRPr sz="3125">
          <a:solidFill>
            <a:schemeClr val="tx2"/>
          </a:solidFill>
          <a:latin typeface="Trebuchet MS" charset="0"/>
          <a:ea typeface="MS PGothic" panose="020B0600070205080204" pitchFamily="34" charset="-128"/>
          <a:cs typeface="MS PGothic" charset="0"/>
        </a:defRPr>
      </a:lvl3pPr>
      <a:lvl4pPr algn="l" defTabSz="1218660" rtl="0" eaLnBrk="0" fontAlgn="base" hangingPunct="0">
        <a:spcBef>
          <a:spcPts val="795"/>
        </a:spcBef>
        <a:spcAft>
          <a:spcPct val="0"/>
        </a:spcAft>
        <a:defRPr sz="3125">
          <a:solidFill>
            <a:schemeClr val="tx2"/>
          </a:solidFill>
          <a:latin typeface="Trebuchet MS" charset="0"/>
          <a:ea typeface="MS PGothic" panose="020B0600070205080204" pitchFamily="34" charset="-128"/>
          <a:cs typeface="MS PGothic" charset="0"/>
        </a:defRPr>
      </a:lvl4pPr>
      <a:lvl5pPr algn="l" defTabSz="1218660" rtl="0" eaLnBrk="0" fontAlgn="base" hangingPunct="0">
        <a:spcBef>
          <a:spcPts val="795"/>
        </a:spcBef>
        <a:spcAft>
          <a:spcPct val="0"/>
        </a:spcAft>
        <a:defRPr sz="3125">
          <a:solidFill>
            <a:schemeClr val="tx2"/>
          </a:solidFill>
          <a:latin typeface="Trebuchet MS" charset="0"/>
          <a:ea typeface="MS PGothic" panose="020B0600070205080204" pitchFamily="34" charset="-128"/>
          <a:cs typeface="MS PGothic" charset="0"/>
        </a:defRPr>
      </a:lvl5pPr>
      <a:lvl6pPr marL="476220" algn="l" defTabSz="1218660" rtl="0" eaLnBrk="1" fontAlgn="base" hangingPunct="1">
        <a:spcBef>
          <a:spcPts val="795"/>
        </a:spcBef>
        <a:spcAft>
          <a:spcPct val="0"/>
        </a:spcAft>
        <a:defRPr sz="3125">
          <a:solidFill>
            <a:srgbClr val="EF3F33"/>
          </a:solidFill>
          <a:latin typeface="Arial" pitchFamily="8" charset="0"/>
          <a:ea typeface="Geneva" pitchFamily="8" charset="-128"/>
          <a:cs typeface="Geneva" pitchFamily="8" charset="-128"/>
        </a:defRPr>
      </a:lvl6pPr>
      <a:lvl7pPr marL="952439" algn="l" defTabSz="1218660" rtl="0" eaLnBrk="1" fontAlgn="base" hangingPunct="1">
        <a:spcBef>
          <a:spcPts val="795"/>
        </a:spcBef>
        <a:spcAft>
          <a:spcPct val="0"/>
        </a:spcAft>
        <a:defRPr sz="3125">
          <a:solidFill>
            <a:srgbClr val="EF3F33"/>
          </a:solidFill>
          <a:latin typeface="Arial" pitchFamily="8" charset="0"/>
          <a:ea typeface="Geneva" pitchFamily="8" charset="-128"/>
          <a:cs typeface="Geneva" pitchFamily="8" charset="-128"/>
        </a:defRPr>
      </a:lvl7pPr>
      <a:lvl8pPr marL="1428659" algn="l" defTabSz="1218660" rtl="0" eaLnBrk="1" fontAlgn="base" hangingPunct="1">
        <a:spcBef>
          <a:spcPts val="795"/>
        </a:spcBef>
        <a:spcAft>
          <a:spcPct val="0"/>
        </a:spcAft>
        <a:defRPr sz="3125">
          <a:solidFill>
            <a:srgbClr val="EF3F33"/>
          </a:solidFill>
          <a:latin typeface="Arial" pitchFamily="8" charset="0"/>
          <a:ea typeface="Geneva" pitchFamily="8" charset="-128"/>
          <a:cs typeface="Geneva" pitchFamily="8" charset="-128"/>
        </a:defRPr>
      </a:lvl8pPr>
      <a:lvl9pPr marL="1904878" algn="l" defTabSz="1218660" rtl="0" eaLnBrk="1" fontAlgn="base" hangingPunct="1">
        <a:spcBef>
          <a:spcPts val="795"/>
        </a:spcBef>
        <a:spcAft>
          <a:spcPct val="0"/>
        </a:spcAft>
        <a:defRPr sz="3125">
          <a:solidFill>
            <a:srgbClr val="EF3F33"/>
          </a:solidFill>
          <a:latin typeface="Arial" pitchFamily="8" charset="0"/>
          <a:ea typeface="Geneva" pitchFamily="8" charset="-128"/>
          <a:cs typeface="Geneva" pitchFamily="8" charset="-128"/>
        </a:defRPr>
      </a:lvl9pPr>
    </p:titleStyle>
    <p:bodyStyle>
      <a:lvl1pPr marL="238110" indent="-238110" algn="l" defTabSz="1218660" rtl="0" eaLnBrk="0" fontAlgn="base" hangingPunct="0">
        <a:spcBef>
          <a:spcPts val="795"/>
        </a:spcBef>
        <a:spcAft>
          <a:spcPct val="0"/>
        </a:spcAft>
        <a:buClr>
          <a:srgbClr val="F99D31"/>
        </a:buClr>
        <a:buFont typeface="Arial" panose="020B0604020202020204" pitchFamily="34" charset="0"/>
        <a:buChar char="•"/>
        <a:defRPr sz="2500" kern="1200">
          <a:solidFill>
            <a:srgbClr val="323232"/>
          </a:solidFill>
          <a:latin typeface="Trebuchet MS"/>
          <a:ea typeface="MS PGothic" panose="020B0600070205080204" pitchFamily="34" charset="-128"/>
          <a:cs typeface="MS PGothic" charset="0"/>
        </a:defRPr>
      </a:lvl1pPr>
      <a:lvl2pPr marL="479527" indent="-238110" algn="l" defTabSz="1218660" rtl="0" eaLnBrk="0" fontAlgn="base" hangingPunct="0">
        <a:spcBef>
          <a:spcPts val="795"/>
        </a:spcBef>
        <a:spcAft>
          <a:spcPct val="0"/>
        </a:spcAft>
        <a:buClr>
          <a:srgbClr val="F99D31"/>
        </a:buClr>
        <a:buFont typeface="Arial" panose="020B0604020202020204" pitchFamily="34" charset="0"/>
        <a:buChar char="–"/>
        <a:defRPr sz="2083" kern="1200">
          <a:solidFill>
            <a:srgbClr val="323232"/>
          </a:solidFill>
          <a:latin typeface="Trebuchet MS"/>
          <a:ea typeface="MS PGothic" charset="0"/>
          <a:cs typeface="MS PGothic" charset="0"/>
        </a:defRPr>
      </a:lvl2pPr>
      <a:lvl3pPr marL="649842" indent="-168661" algn="l" defTabSz="1218660" rtl="0" eaLnBrk="0" fontAlgn="base" hangingPunct="0">
        <a:spcBef>
          <a:spcPts val="795"/>
        </a:spcBef>
        <a:spcAft>
          <a:spcPct val="0"/>
        </a:spcAft>
        <a:buClr>
          <a:srgbClr val="F99D31"/>
        </a:buClr>
        <a:buFont typeface="Lucida Grande"/>
        <a:buChar char="­"/>
        <a:defRPr kern="1200">
          <a:solidFill>
            <a:srgbClr val="323232"/>
          </a:solidFill>
          <a:latin typeface="Trebuchet MS"/>
          <a:ea typeface="MS PGothic" charset="0"/>
          <a:cs typeface="MS PGothic" charset="0"/>
        </a:defRPr>
      </a:lvl3pPr>
      <a:lvl4pPr marL="930944" indent="-186851" algn="l" defTabSz="1218660" rtl="0" eaLnBrk="0" fontAlgn="base" hangingPunct="0">
        <a:spcBef>
          <a:spcPts val="795"/>
        </a:spcBef>
        <a:spcAft>
          <a:spcPct val="0"/>
        </a:spcAft>
        <a:buClr>
          <a:srgbClr val="F99D31"/>
        </a:buClr>
        <a:buFont typeface="Arial" panose="020B0604020202020204" pitchFamily="34" charset="0"/>
        <a:buChar char="–"/>
        <a:defRPr sz="1042" kern="1200">
          <a:solidFill>
            <a:srgbClr val="323232"/>
          </a:solidFill>
          <a:latin typeface="+mn-lt"/>
          <a:ea typeface="MS PGothic" charset="0"/>
          <a:cs typeface="MS PGothic" charset="0"/>
        </a:defRPr>
      </a:lvl4pPr>
      <a:lvl5pPr marL="2741569" indent="-304251" algn="l" defTabSz="1218660" rtl="0" eaLnBrk="0" fontAlgn="base" hangingPunct="0">
        <a:spcBef>
          <a:spcPct val="20000"/>
        </a:spcBef>
        <a:spcAft>
          <a:spcPct val="0"/>
        </a:spcAft>
        <a:buFont typeface="Arial" panose="020B0604020202020204" pitchFamily="34" charset="0"/>
        <a:buChar char="»"/>
        <a:defRPr sz="2083" kern="1200">
          <a:solidFill>
            <a:schemeClr val="tx1"/>
          </a:solidFill>
          <a:latin typeface="+mj-lt"/>
          <a:ea typeface="MS PGothic" charset="0"/>
          <a:cs typeface="MS PGothic" charset="0"/>
        </a:defRPr>
      </a:lvl5pPr>
      <a:lvl6pPr marL="3352585" indent="-304780" algn="l" defTabSz="1219122" rtl="0" eaLnBrk="1" latinLnBrk="0" hangingPunct="1">
        <a:spcBef>
          <a:spcPct val="20000"/>
        </a:spcBef>
        <a:buFont typeface="Arial" pitchFamily="34" charset="0"/>
        <a:buChar char="•"/>
        <a:defRPr sz="2708" kern="1200">
          <a:solidFill>
            <a:schemeClr val="tx1"/>
          </a:solidFill>
          <a:latin typeface="+mn-lt"/>
          <a:ea typeface="+mn-ea"/>
          <a:cs typeface="+mn-cs"/>
        </a:defRPr>
      </a:lvl6pPr>
      <a:lvl7pPr marL="3962146" indent="-304780" algn="l" defTabSz="1219122" rtl="0" eaLnBrk="1" latinLnBrk="0" hangingPunct="1">
        <a:spcBef>
          <a:spcPct val="20000"/>
        </a:spcBef>
        <a:buFont typeface="Arial" pitchFamily="34" charset="0"/>
        <a:buChar char="•"/>
        <a:defRPr sz="2708" kern="1200">
          <a:solidFill>
            <a:schemeClr val="tx1"/>
          </a:solidFill>
          <a:latin typeface="+mn-lt"/>
          <a:ea typeface="+mn-ea"/>
          <a:cs typeface="+mn-cs"/>
        </a:defRPr>
      </a:lvl7pPr>
      <a:lvl8pPr marL="4571707" indent="-304780" algn="l" defTabSz="1219122" rtl="0" eaLnBrk="1" latinLnBrk="0" hangingPunct="1">
        <a:spcBef>
          <a:spcPct val="20000"/>
        </a:spcBef>
        <a:buFont typeface="Arial" pitchFamily="34" charset="0"/>
        <a:buChar char="•"/>
        <a:defRPr sz="2708" kern="1200">
          <a:solidFill>
            <a:schemeClr val="tx1"/>
          </a:solidFill>
          <a:latin typeface="+mn-lt"/>
          <a:ea typeface="+mn-ea"/>
          <a:cs typeface="+mn-cs"/>
        </a:defRPr>
      </a:lvl8pPr>
      <a:lvl9pPr marL="5181268" indent="-304780" algn="l" defTabSz="1219122" rtl="0" eaLnBrk="1" latinLnBrk="0" hangingPunct="1">
        <a:spcBef>
          <a:spcPct val="20000"/>
        </a:spcBef>
        <a:buFont typeface="Arial" pitchFamily="34" charset="0"/>
        <a:buChar char="•"/>
        <a:defRPr sz="2708" kern="1200">
          <a:solidFill>
            <a:schemeClr val="tx1"/>
          </a:solidFill>
          <a:latin typeface="+mn-lt"/>
          <a:ea typeface="+mn-ea"/>
          <a:cs typeface="+mn-cs"/>
        </a:defRPr>
      </a:lvl9pPr>
    </p:bodyStyle>
    <p:otherStyle>
      <a:defPPr>
        <a:defRPr lang="en-US"/>
      </a:defPPr>
      <a:lvl1pPr marL="0" algn="l" defTabSz="1219122" rtl="0" eaLnBrk="1" latinLnBrk="0" hangingPunct="1">
        <a:defRPr sz="2396" kern="1200">
          <a:solidFill>
            <a:schemeClr val="tx1"/>
          </a:solidFill>
          <a:latin typeface="+mn-lt"/>
          <a:ea typeface="+mn-ea"/>
          <a:cs typeface="+mn-cs"/>
        </a:defRPr>
      </a:lvl1pPr>
      <a:lvl2pPr marL="609561" algn="l" defTabSz="1219122" rtl="0" eaLnBrk="1" latinLnBrk="0" hangingPunct="1">
        <a:defRPr sz="2396" kern="1200">
          <a:solidFill>
            <a:schemeClr val="tx1"/>
          </a:solidFill>
          <a:latin typeface="+mn-lt"/>
          <a:ea typeface="+mn-ea"/>
          <a:cs typeface="+mn-cs"/>
        </a:defRPr>
      </a:lvl2pPr>
      <a:lvl3pPr marL="1219122" algn="l" defTabSz="1219122" rtl="0" eaLnBrk="1" latinLnBrk="0" hangingPunct="1">
        <a:defRPr sz="2396" kern="1200">
          <a:solidFill>
            <a:schemeClr val="tx1"/>
          </a:solidFill>
          <a:latin typeface="+mn-lt"/>
          <a:ea typeface="+mn-ea"/>
          <a:cs typeface="+mn-cs"/>
        </a:defRPr>
      </a:lvl3pPr>
      <a:lvl4pPr marL="1828683" algn="l" defTabSz="1219122" rtl="0" eaLnBrk="1" latinLnBrk="0" hangingPunct="1">
        <a:defRPr sz="2396" kern="1200">
          <a:solidFill>
            <a:schemeClr val="tx1"/>
          </a:solidFill>
          <a:latin typeface="+mn-lt"/>
          <a:ea typeface="+mn-ea"/>
          <a:cs typeface="+mn-cs"/>
        </a:defRPr>
      </a:lvl4pPr>
      <a:lvl5pPr marL="2438244" algn="l" defTabSz="1219122" rtl="0" eaLnBrk="1" latinLnBrk="0" hangingPunct="1">
        <a:defRPr sz="2396" kern="1200">
          <a:solidFill>
            <a:schemeClr val="tx1"/>
          </a:solidFill>
          <a:latin typeface="+mn-lt"/>
          <a:ea typeface="+mn-ea"/>
          <a:cs typeface="+mn-cs"/>
        </a:defRPr>
      </a:lvl5pPr>
      <a:lvl6pPr marL="3047805" algn="l" defTabSz="1219122" rtl="0" eaLnBrk="1" latinLnBrk="0" hangingPunct="1">
        <a:defRPr sz="2396" kern="1200">
          <a:solidFill>
            <a:schemeClr val="tx1"/>
          </a:solidFill>
          <a:latin typeface="+mn-lt"/>
          <a:ea typeface="+mn-ea"/>
          <a:cs typeface="+mn-cs"/>
        </a:defRPr>
      </a:lvl6pPr>
      <a:lvl7pPr marL="3657366" algn="l" defTabSz="1219122" rtl="0" eaLnBrk="1" latinLnBrk="0" hangingPunct="1">
        <a:defRPr sz="2396" kern="1200">
          <a:solidFill>
            <a:schemeClr val="tx1"/>
          </a:solidFill>
          <a:latin typeface="+mn-lt"/>
          <a:ea typeface="+mn-ea"/>
          <a:cs typeface="+mn-cs"/>
        </a:defRPr>
      </a:lvl7pPr>
      <a:lvl8pPr marL="4266927" algn="l" defTabSz="1219122" rtl="0" eaLnBrk="1" latinLnBrk="0" hangingPunct="1">
        <a:defRPr sz="2396" kern="1200">
          <a:solidFill>
            <a:schemeClr val="tx1"/>
          </a:solidFill>
          <a:latin typeface="+mn-lt"/>
          <a:ea typeface="+mn-ea"/>
          <a:cs typeface="+mn-cs"/>
        </a:defRPr>
      </a:lvl8pPr>
      <a:lvl9pPr marL="4876488" algn="l" defTabSz="1219122" rtl="0" eaLnBrk="1" latinLnBrk="0" hangingPunct="1">
        <a:defRPr sz="2396"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Rectangle 3">
            <a:extLst>
              <a:ext uri="{FF2B5EF4-FFF2-40B4-BE49-F238E27FC236}">
                <a16:creationId xmlns:a16="http://schemas.microsoft.com/office/drawing/2014/main" id="{72EB2811-0865-423B-8858-4C050E873D3E}"/>
              </a:ext>
            </a:extLst>
          </p:cNvPr>
          <p:cNvSpPr>
            <a:spLocks noGrp="1" noChangeArrowheads="1"/>
          </p:cNvSpPr>
          <p:nvPr>
            <p:ph type="body" idx="1"/>
          </p:nvPr>
        </p:nvSpPr>
        <p:spPr bwMode="auto">
          <a:xfrm>
            <a:off x="610181" y="1600808"/>
            <a:ext cx="10971641" cy="45245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pic>
        <p:nvPicPr>
          <p:cNvPr id="2054" name="Picture 11">
            <a:extLst>
              <a:ext uri="{FF2B5EF4-FFF2-40B4-BE49-F238E27FC236}">
                <a16:creationId xmlns:a16="http://schemas.microsoft.com/office/drawing/2014/main" id="{533489FA-DF5E-41B1-89AA-6FD7E0EE780F}"/>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l="42610" t="66895" r="12354" b="27951"/>
          <a:stretch>
            <a:fillRect/>
          </a:stretch>
        </p:blipFill>
        <p:spPr bwMode="auto">
          <a:xfrm>
            <a:off x="58664" y="907896"/>
            <a:ext cx="12074672" cy="524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7" name="Rectangle 5">
            <a:extLst>
              <a:ext uri="{FF2B5EF4-FFF2-40B4-BE49-F238E27FC236}">
                <a16:creationId xmlns:a16="http://schemas.microsoft.com/office/drawing/2014/main" id="{9BF2F789-07ED-4918-A2B1-BCAAA141D513}"/>
              </a:ext>
            </a:extLst>
          </p:cNvPr>
          <p:cNvSpPr>
            <a:spLocks noChangeArrowheads="1"/>
          </p:cNvSpPr>
          <p:nvPr>
            <p:custDataLst>
              <p:tags r:id="rId15"/>
            </p:custDataLst>
          </p:nvPr>
        </p:nvSpPr>
        <p:spPr bwMode="auto">
          <a:xfrm>
            <a:off x="0" y="6429687"/>
            <a:ext cx="12192000" cy="428315"/>
          </a:xfrm>
          <a:prstGeom prst="rect">
            <a:avLst/>
          </a:prstGeom>
          <a:solidFill>
            <a:srgbClr val="0065CC"/>
          </a:solidFill>
          <a:ln w="9525">
            <a:solidFill>
              <a:srgbClr val="0065CC"/>
            </a:solidFill>
            <a:miter lim="800000"/>
            <a:headEnd/>
            <a:tailEnd/>
          </a:ln>
        </p:spPr>
        <p:txBody>
          <a:bodyPr wrap="none" anchor="ctr"/>
          <a:lstStyle>
            <a:lvl1pPr eaLnBrk="0" hangingPunct="0">
              <a:defRPr sz="2300">
                <a:solidFill>
                  <a:schemeClr val="tx1"/>
                </a:solidFill>
                <a:latin typeface="Arial" pitchFamily="34" charset="0"/>
                <a:ea typeface="MS PGothic" pitchFamily="34" charset="-128"/>
              </a:defRPr>
            </a:lvl1pPr>
            <a:lvl2pPr eaLnBrk="0" hangingPunct="0">
              <a:defRPr sz="2300">
                <a:solidFill>
                  <a:schemeClr val="tx1"/>
                </a:solidFill>
                <a:latin typeface="Arial" pitchFamily="34" charset="0"/>
                <a:ea typeface="MS PGothic" pitchFamily="34" charset="-128"/>
              </a:defRPr>
            </a:lvl2pPr>
            <a:lvl3pPr eaLnBrk="0" hangingPunct="0">
              <a:defRPr sz="2300">
                <a:solidFill>
                  <a:schemeClr val="tx1"/>
                </a:solidFill>
                <a:latin typeface="Arial" pitchFamily="34" charset="0"/>
                <a:ea typeface="MS PGothic" pitchFamily="34" charset="-128"/>
              </a:defRPr>
            </a:lvl3pPr>
            <a:lvl4pPr eaLnBrk="0" hangingPunct="0">
              <a:defRPr sz="2300">
                <a:solidFill>
                  <a:schemeClr val="tx1"/>
                </a:solidFill>
                <a:latin typeface="Arial" pitchFamily="34" charset="0"/>
                <a:ea typeface="MS PGothic" pitchFamily="34" charset="-128"/>
              </a:defRPr>
            </a:lvl4pPr>
            <a:lvl5pPr eaLnBrk="0" hangingPunct="0">
              <a:defRPr sz="2300">
                <a:solidFill>
                  <a:schemeClr val="tx1"/>
                </a:solidFill>
                <a:latin typeface="Arial" pitchFamily="34" charset="0"/>
                <a:ea typeface="MS PGothic" pitchFamily="34" charset="-128"/>
              </a:defRPr>
            </a:lvl5pPr>
            <a:lvl6pPr marL="2797175" indent="-511175" eaLnBrk="0" fontAlgn="base" hangingPunct="0">
              <a:spcBef>
                <a:spcPct val="0"/>
              </a:spcBef>
              <a:spcAft>
                <a:spcPct val="0"/>
              </a:spcAft>
              <a:defRPr sz="2300">
                <a:solidFill>
                  <a:schemeClr val="tx1"/>
                </a:solidFill>
                <a:latin typeface="Arial" pitchFamily="34" charset="0"/>
                <a:ea typeface="MS PGothic" pitchFamily="34" charset="-128"/>
              </a:defRPr>
            </a:lvl6pPr>
            <a:lvl7pPr marL="3254375" indent="-511175" eaLnBrk="0" fontAlgn="base" hangingPunct="0">
              <a:spcBef>
                <a:spcPct val="0"/>
              </a:spcBef>
              <a:spcAft>
                <a:spcPct val="0"/>
              </a:spcAft>
              <a:defRPr sz="2300">
                <a:solidFill>
                  <a:schemeClr val="tx1"/>
                </a:solidFill>
                <a:latin typeface="Arial" pitchFamily="34" charset="0"/>
                <a:ea typeface="MS PGothic" pitchFamily="34" charset="-128"/>
              </a:defRPr>
            </a:lvl7pPr>
            <a:lvl8pPr marL="3711575" indent="-511175" eaLnBrk="0" fontAlgn="base" hangingPunct="0">
              <a:spcBef>
                <a:spcPct val="0"/>
              </a:spcBef>
              <a:spcAft>
                <a:spcPct val="0"/>
              </a:spcAft>
              <a:defRPr sz="2300">
                <a:solidFill>
                  <a:schemeClr val="tx1"/>
                </a:solidFill>
                <a:latin typeface="Arial" pitchFamily="34" charset="0"/>
                <a:ea typeface="MS PGothic" pitchFamily="34" charset="-128"/>
              </a:defRPr>
            </a:lvl8pPr>
            <a:lvl9pPr marL="4168775" indent="-511175" eaLnBrk="0" fontAlgn="base" hangingPunct="0">
              <a:spcBef>
                <a:spcPct val="0"/>
              </a:spcBef>
              <a:spcAft>
                <a:spcPct val="0"/>
              </a:spcAft>
              <a:defRPr sz="2300">
                <a:solidFill>
                  <a:schemeClr val="tx1"/>
                </a:solidFill>
                <a:latin typeface="Arial" pitchFamily="34" charset="0"/>
                <a:ea typeface="MS PGothic" pitchFamily="34" charset="-128"/>
              </a:defRPr>
            </a:lvl9pPr>
          </a:lstStyle>
          <a:p>
            <a:pPr defTabSz="714329" eaLnBrk="1" hangingPunct="1">
              <a:defRPr/>
            </a:pPr>
            <a:endParaRPr lang="en-US" altLang="en-US" sz="1250" dirty="0">
              <a:solidFill>
                <a:srgbClr val="000000"/>
              </a:solidFill>
            </a:endParaRPr>
          </a:p>
        </p:txBody>
      </p:sp>
      <p:sp>
        <p:nvSpPr>
          <p:cNvPr id="121" name="Slide Number">
            <a:extLst>
              <a:ext uri="{FF2B5EF4-FFF2-40B4-BE49-F238E27FC236}">
                <a16:creationId xmlns:a16="http://schemas.microsoft.com/office/drawing/2014/main" id="{C32C7684-2B9F-4571-818B-13479CCAC91E}"/>
              </a:ext>
            </a:extLst>
          </p:cNvPr>
          <p:cNvSpPr txBox="1">
            <a:spLocks/>
          </p:cNvSpPr>
          <p:nvPr>
            <p:custDataLst>
              <p:tags r:id="rId16"/>
            </p:custDataLst>
          </p:nvPr>
        </p:nvSpPr>
        <p:spPr bwMode="auto">
          <a:xfrm>
            <a:off x="11764305" y="6600387"/>
            <a:ext cx="123432" cy="120354"/>
          </a:xfrm>
          <a:prstGeom prst="rect">
            <a:avLst/>
          </a:prstGeom>
        </p:spPr>
        <p:txBody>
          <a:bodyPr wrap="none" lIns="0" tIns="0" rIns="0" bIns="0" anchor="b">
            <a:spAutoFit/>
          </a:bodyPr>
          <a:lstStyle>
            <a:lvl1pPr>
              <a:defRPr sz="2300">
                <a:solidFill>
                  <a:schemeClr val="tx1"/>
                </a:solidFill>
                <a:latin typeface="Arial" panose="020B0604020202020204" pitchFamily="34" charset="0"/>
                <a:ea typeface="MS PGothic" panose="020B0600070205080204" pitchFamily="34" charset="-128"/>
              </a:defRPr>
            </a:lvl1pPr>
            <a:lvl2pPr marL="742950" indent="-285750">
              <a:defRPr sz="2300">
                <a:solidFill>
                  <a:schemeClr val="tx1"/>
                </a:solidFill>
                <a:latin typeface="Arial" panose="020B0604020202020204" pitchFamily="34" charset="0"/>
                <a:ea typeface="MS PGothic" panose="020B0600070205080204" pitchFamily="34" charset="-128"/>
              </a:defRPr>
            </a:lvl2pPr>
            <a:lvl3pPr marL="1143000" indent="-228600">
              <a:defRPr sz="2300">
                <a:solidFill>
                  <a:schemeClr val="tx1"/>
                </a:solidFill>
                <a:latin typeface="Arial" panose="020B0604020202020204" pitchFamily="34" charset="0"/>
                <a:ea typeface="MS PGothic" panose="020B0600070205080204" pitchFamily="34" charset="-128"/>
              </a:defRPr>
            </a:lvl3pPr>
            <a:lvl4pPr marL="1600200" indent="-228600">
              <a:defRPr sz="2300">
                <a:solidFill>
                  <a:schemeClr val="tx1"/>
                </a:solidFill>
                <a:latin typeface="Arial" panose="020B0604020202020204" pitchFamily="34" charset="0"/>
                <a:ea typeface="MS PGothic" panose="020B0600070205080204" pitchFamily="34" charset="-128"/>
              </a:defRPr>
            </a:lvl4pPr>
            <a:lvl5pPr marL="2057400" indent="-228600">
              <a:defRPr sz="23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3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3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3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300">
                <a:solidFill>
                  <a:schemeClr val="tx1"/>
                </a:solidFill>
                <a:latin typeface="Arial" panose="020B0604020202020204" pitchFamily="34" charset="0"/>
                <a:ea typeface="MS PGothic" panose="020B0600070205080204" pitchFamily="34" charset="-128"/>
              </a:defRPr>
            </a:lvl9pPr>
          </a:lstStyle>
          <a:p>
            <a:pPr algn="r" defTabSz="714329" eaLnBrk="1" hangingPunct="1">
              <a:defRPr/>
            </a:pPr>
            <a:fld id="{81BB4F62-9FFC-4743-8C8A-61E7F6D8B61A}" type="slidenum">
              <a:rPr lang="en-GB" altLang="en-US" sz="782" smtClean="0">
                <a:solidFill>
                  <a:srgbClr val="FFFFFF"/>
                </a:solidFill>
                <a:cs typeface="Arial" panose="020B0604020202020204" pitchFamily="34" charset="0"/>
              </a:rPr>
              <a:pPr algn="r" defTabSz="714329" eaLnBrk="1" hangingPunct="1">
                <a:defRPr/>
              </a:pPr>
              <a:t>‹#›</a:t>
            </a:fld>
            <a:endParaRPr lang="en-GB" altLang="en-US" sz="782" dirty="0">
              <a:solidFill>
                <a:srgbClr val="FFFFFF"/>
              </a:solidFill>
              <a:cs typeface="Arial" panose="020B0604020202020204" pitchFamily="34" charset="0"/>
            </a:endParaRPr>
          </a:p>
        </p:txBody>
      </p:sp>
      <p:sp>
        <p:nvSpPr>
          <p:cNvPr id="2059" name="Rectangle 2">
            <a:extLst>
              <a:ext uri="{FF2B5EF4-FFF2-40B4-BE49-F238E27FC236}">
                <a16:creationId xmlns:a16="http://schemas.microsoft.com/office/drawing/2014/main" id="{F8C5C725-2B59-46E2-8757-5EB583597EE4}"/>
              </a:ext>
            </a:extLst>
          </p:cNvPr>
          <p:cNvSpPr>
            <a:spLocks noGrp="1" noChangeArrowheads="1"/>
          </p:cNvSpPr>
          <p:nvPr>
            <p:ph type="title"/>
          </p:nvPr>
        </p:nvSpPr>
        <p:spPr bwMode="auto">
          <a:xfrm>
            <a:off x="610181" y="274521"/>
            <a:ext cx="10971641" cy="6333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p>
        </p:txBody>
      </p:sp>
      <p:pic>
        <p:nvPicPr>
          <p:cNvPr id="11" name="Picture 10"/>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10453036" y="143050"/>
            <a:ext cx="1622549" cy="452973"/>
          </a:xfrm>
          <a:prstGeom prst="rect">
            <a:avLst/>
          </a:prstGeom>
        </p:spPr>
      </p:pic>
    </p:spTree>
    <p:extLst>
      <p:ext uri="{BB962C8B-B14F-4D97-AF65-F5344CB8AC3E}">
        <p14:creationId xmlns:p14="http://schemas.microsoft.com/office/powerpoint/2010/main" val="2747110278"/>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Lst>
  <p:hf sldNum="0" hdr="0"/>
  <p:txStyles>
    <p:titleStyle>
      <a:lvl1pPr algn="l" rtl="0" eaLnBrk="0" fontAlgn="base" hangingPunct="0">
        <a:spcBef>
          <a:spcPct val="0"/>
        </a:spcBef>
        <a:spcAft>
          <a:spcPct val="0"/>
        </a:spcAft>
        <a:defRPr sz="2500" b="1">
          <a:solidFill>
            <a:srgbClr val="0066CC"/>
          </a:solidFill>
          <a:latin typeface="+mj-lt"/>
          <a:ea typeface="+mj-ea"/>
          <a:cs typeface="+mj-cs"/>
        </a:defRPr>
      </a:lvl1pPr>
      <a:lvl2pPr algn="l" rtl="0" eaLnBrk="0" fontAlgn="base" hangingPunct="0">
        <a:spcBef>
          <a:spcPct val="0"/>
        </a:spcBef>
        <a:spcAft>
          <a:spcPct val="0"/>
        </a:spcAft>
        <a:defRPr sz="2500" b="1">
          <a:solidFill>
            <a:srgbClr val="0066CC"/>
          </a:solidFill>
          <a:latin typeface="Arial" pitchFamily="34" charset="0"/>
        </a:defRPr>
      </a:lvl2pPr>
      <a:lvl3pPr algn="l" rtl="0" eaLnBrk="0" fontAlgn="base" hangingPunct="0">
        <a:spcBef>
          <a:spcPct val="0"/>
        </a:spcBef>
        <a:spcAft>
          <a:spcPct val="0"/>
        </a:spcAft>
        <a:defRPr sz="2500" b="1">
          <a:solidFill>
            <a:srgbClr val="0066CC"/>
          </a:solidFill>
          <a:latin typeface="Arial" pitchFamily="34" charset="0"/>
        </a:defRPr>
      </a:lvl3pPr>
      <a:lvl4pPr algn="l" rtl="0" eaLnBrk="0" fontAlgn="base" hangingPunct="0">
        <a:spcBef>
          <a:spcPct val="0"/>
        </a:spcBef>
        <a:spcAft>
          <a:spcPct val="0"/>
        </a:spcAft>
        <a:defRPr sz="2500" b="1">
          <a:solidFill>
            <a:srgbClr val="0066CC"/>
          </a:solidFill>
          <a:latin typeface="Arial" pitchFamily="34" charset="0"/>
        </a:defRPr>
      </a:lvl4pPr>
      <a:lvl5pPr algn="l" rtl="0" eaLnBrk="0" fontAlgn="base" hangingPunct="0">
        <a:spcBef>
          <a:spcPct val="0"/>
        </a:spcBef>
        <a:spcAft>
          <a:spcPct val="0"/>
        </a:spcAft>
        <a:defRPr sz="2500" b="1">
          <a:solidFill>
            <a:srgbClr val="0066CC"/>
          </a:solidFill>
          <a:latin typeface="Arial" pitchFamily="34" charset="0"/>
        </a:defRPr>
      </a:lvl5pPr>
      <a:lvl6pPr marL="357165" algn="l" rtl="0" fontAlgn="base">
        <a:spcBef>
          <a:spcPct val="0"/>
        </a:spcBef>
        <a:spcAft>
          <a:spcPct val="0"/>
        </a:spcAft>
        <a:defRPr sz="2500" b="1">
          <a:solidFill>
            <a:srgbClr val="0066CC"/>
          </a:solidFill>
          <a:latin typeface="Arial" pitchFamily="34" charset="0"/>
        </a:defRPr>
      </a:lvl6pPr>
      <a:lvl7pPr marL="714329" algn="l" rtl="0" fontAlgn="base">
        <a:spcBef>
          <a:spcPct val="0"/>
        </a:spcBef>
        <a:spcAft>
          <a:spcPct val="0"/>
        </a:spcAft>
        <a:defRPr sz="2500" b="1">
          <a:solidFill>
            <a:srgbClr val="0066CC"/>
          </a:solidFill>
          <a:latin typeface="Arial" pitchFamily="34" charset="0"/>
        </a:defRPr>
      </a:lvl7pPr>
      <a:lvl8pPr marL="1071494" algn="l" rtl="0" fontAlgn="base">
        <a:spcBef>
          <a:spcPct val="0"/>
        </a:spcBef>
        <a:spcAft>
          <a:spcPct val="0"/>
        </a:spcAft>
        <a:defRPr sz="2500" b="1">
          <a:solidFill>
            <a:srgbClr val="0066CC"/>
          </a:solidFill>
          <a:latin typeface="Arial" pitchFamily="34" charset="0"/>
        </a:defRPr>
      </a:lvl8pPr>
      <a:lvl9pPr marL="1428659" algn="l" rtl="0" fontAlgn="base">
        <a:spcBef>
          <a:spcPct val="0"/>
        </a:spcBef>
        <a:spcAft>
          <a:spcPct val="0"/>
        </a:spcAft>
        <a:defRPr sz="2500" b="1">
          <a:solidFill>
            <a:srgbClr val="0066CC"/>
          </a:solidFill>
          <a:latin typeface="Arial" pitchFamily="34" charset="0"/>
        </a:defRPr>
      </a:lvl9pPr>
    </p:titleStyle>
    <p:bodyStyle>
      <a:lvl1pPr marL="267874" indent="-267874" algn="l" rtl="0" eaLnBrk="0" fontAlgn="base" hangingPunct="0">
        <a:spcBef>
          <a:spcPct val="20000"/>
        </a:spcBef>
        <a:spcAft>
          <a:spcPct val="0"/>
        </a:spcAft>
        <a:buChar char="•"/>
        <a:defRPr sz="2500">
          <a:solidFill>
            <a:schemeClr val="tx1"/>
          </a:solidFill>
          <a:latin typeface="+mn-lt"/>
          <a:ea typeface="+mn-ea"/>
          <a:cs typeface="+mn-cs"/>
        </a:defRPr>
      </a:lvl1pPr>
      <a:lvl2pPr marL="580393" indent="-223228" algn="l" rtl="0" eaLnBrk="0" fontAlgn="base" hangingPunct="0">
        <a:spcBef>
          <a:spcPct val="20000"/>
        </a:spcBef>
        <a:spcAft>
          <a:spcPct val="0"/>
        </a:spcAft>
        <a:buChar char="–"/>
        <a:defRPr sz="2187">
          <a:solidFill>
            <a:schemeClr val="tx1"/>
          </a:solidFill>
          <a:latin typeface="+mn-lt"/>
        </a:defRPr>
      </a:lvl2pPr>
      <a:lvl3pPr marL="892912" indent="-178583" algn="l" rtl="0" eaLnBrk="0" fontAlgn="base" hangingPunct="0">
        <a:spcBef>
          <a:spcPct val="20000"/>
        </a:spcBef>
        <a:spcAft>
          <a:spcPct val="0"/>
        </a:spcAft>
        <a:buChar char="•"/>
        <a:defRPr sz="1875">
          <a:solidFill>
            <a:schemeClr val="tx1"/>
          </a:solidFill>
          <a:latin typeface="+mn-lt"/>
        </a:defRPr>
      </a:lvl3pPr>
      <a:lvl4pPr marL="1250076" indent="-178583" algn="l" rtl="0" eaLnBrk="0" fontAlgn="base" hangingPunct="0">
        <a:spcBef>
          <a:spcPct val="20000"/>
        </a:spcBef>
        <a:spcAft>
          <a:spcPct val="0"/>
        </a:spcAft>
        <a:buChar char="–"/>
        <a:defRPr sz="1562">
          <a:solidFill>
            <a:schemeClr val="tx1"/>
          </a:solidFill>
          <a:latin typeface="+mn-lt"/>
        </a:defRPr>
      </a:lvl4pPr>
      <a:lvl5pPr marL="1607241" indent="-178583" algn="l" rtl="0" eaLnBrk="0" fontAlgn="base" hangingPunct="0">
        <a:spcBef>
          <a:spcPct val="20000"/>
        </a:spcBef>
        <a:spcAft>
          <a:spcPct val="0"/>
        </a:spcAft>
        <a:buChar char="»"/>
        <a:defRPr sz="1562">
          <a:solidFill>
            <a:schemeClr val="tx1"/>
          </a:solidFill>
          <a:latin typeface="+mn-lt"/>
        </a:defRPr>
      </a:lvl5pPr>
      <a:lvl6pPr marL="1964405" indent="-178583" algn="l" rtl="0" fontAlgn="base">
        <a:spcBef>
          <a:spcPct val="20000"/>
        </a:spcBef>
        <a:spcAft>
          <a:spcPct val="0"/>
        </a:spcAft>
        <a:buChar char="»"/>
        <a:defRPr sz="1562">
          <a:solidFill>
            <a:schemeClr val="tx1"/>
          </a:solidFill>
          <a:latin typeface="+mn-lt"/>
        </a:defRPr>
      </a:lvl6pPr>
      <a:lvl7pPr marL="2321570" indent="-178583" algn="l" rtl="0" fontAlgn="base">
        <a:spcBef>
          <a:spcPct val="20000"/>
        </a:spcBef>
        <a:spcAft>
          <a:spcPct val="0"/>
        </a:spcAft>
        <a:buChar char="»"/>
        <a:defRPr sz="1562">
          <a:solidFill>
            <a:schemeClr val="tx1"/>
          </a:solidFill>
          <a:latin typeface="+mn-lt"/>
        </a:defRPr>
      </a:lvl7pPr>
      <a:lvl8pPr marL="2678735" indent="-178583" algn="l" rtl="0" fontAlgn="base">
        <a:spcBef>
          <a:spcPct val="20000"/>
        </a:spcBef>
        <a:spcAft>
          <a:spcPct val="0"/>
        </a:spcAft>
        <a:buChar char="»"/>
        <a:defRPr sz="1562">
          <a:solidFill>
            <a:schemeClr val="tx1"/>
          </a:solidFill>
          <a:latin typeface="+mn-lt"/>
        </a:defRPr>
      </a:lvl8pPr>
      <a:lvl9pPr marL="3035900" indent="-178583" algn="l" rtl="0" fontAlgn="base">
        <a:spcBef>
          <a:spcPct val="20000"/>
        </a:spcBef>
        <a:spcAft>
          <a:spcPct val="0"/>
        </a:spcAft>
        <a:buChar char="»"/>
        <a:defRPr sz="1562">
          <a:solidFill>
            <a:schemeClr val="tx1"/>
          </a:solidFill>
          <a:latin typeface="+mn-lt"/>
        </a:defRPr>
      </a:lvl9pPr>
    </p:bodyStyle>
    <p:otherStyle>
      <a:defPPr>
        <a:defRPr lang="en-US"/>
      </a:defPPr>
      <a:lvl1pPr marL="0" algn="l" defTabSz="714329" rtl="0" eaLnBrk="1" latinLnBrk="0" hangingPunct="1">
        <a:defRPr sz="1406" kern="1200">
          <a:solidFill>
            <a:schemeClr val="tx1"/>
          </a:solidFill>
          <a:latin typeface="+mn-lt"/>
          <a:ea typeface="+mn-ea"/>
          <a:cs typeface="+mn-cs"/>
        </a:defRPr>
      </a:lvl1pPr>
      <a:lvl2pPr marL="357165" algn="l" defTabSz="714329" rtl="0" eaLnBrk="1" latinLnBrk="0" hangingPunct="1">
        <a:defRPr sz="1406" kern="1200">
          <a:solidFill>
            <a:schemeClr val="tx1"/>
          </a:solidFill>
          <a:latin typeface="+mn-lt"/>
          <a:ea typeface="+mn-ea"/>
          <a:cs typeface="+mn-cs"/>
        </a:defRPr>
      </a:lvl2pPr>
      <a:lvl3pPr marL="714329" algn="l" defTabSz="714329" rtl="0" eaLnBrk="1" latinLnBrk="0" hangingPunct="1">
        <a:defRPr sz="1406" kern="1200">
          <a:solidFill>
            <a:schemeClr val="tx1"/>
          </a:solidFill>
          <a:latin typeface="+mn-lt"/>
          <a:ea typeface="+mn-ea"/>
          <a:cs typeface="+mn-cs"/>
        </a:defRPr>
      </a:lvl3pPr>
      <a:lvl4pPr marL="1071494" algn="l" defTabSz="714329" rtl="0" eaLnBrk="1" latinLnBrk="0" hangingPunct="1">
        <a:defRPr sz="1406" kern="1200">
          <a:solidFill>
            <a:schemeClr val="tx1"/>
          </a:solidFill>
          <a:latin typeface="+mn-lt"/>
          <a:ea typeface="+mn-ea"/>
          <a:cs typeface="+mn-cs"/>
        </a:defRPr>
      </a:lvl4pPr>
      <a:lvl5pPr marL="1428659" algn="l" defTabSz="714329" rtl="0" eaLnBrk="1" latinLnBrk="0" hangingPunct="1">
        <a:defRPr sz="1406" kern="1200">
          <a:solidFill>
            <a:schemeClr val="tx1"/>
          </a:solidFill>
          <a:latin typeface="+mn-lt"/>
          <a:ea typeface="+mn-ea"/>
          <a:cs typeface="+mn-cs"/>
        </a:defRPr>
      </a:lvl5pPr>
      <a:lvl6pPr marL="1785824" algn="l" defTabSz="714329" rtl="0" eaLnBrk="1" latinLnBrk="0" hangingPunct="1">
        <a:defRPr sz="1406" kern="1200">
          <a:solidFill>
            <a:schemeClr val="tx1"/>
          </a:solidFill>
          <a:latin typeface="+mn-lt"/>
          <a:ea typeface="+mn-ea"/>
          <a:cs typeface="+mn-cs"/>
        </a:defRPr>
      </a:lvl6pPr>
      <a:lvl7pPr marL="2142988" algn="l" defTabSz="714329" rtl="0" eaLnBrk="1" latinLnBrk="0" hangingPunct="1">
        <a:defRPr sz="1406" kern="1200">
          <a:solidFill>
            <a:schemeClr val="tx1"/>
          </a:solidFill>
          <a:latin typeface="+mn-lt"/>
          <a:ea typeface="+mn-ea"/>
          <a:cs typeface="+mn-cs"/>
        </a:defRPr>
      </a:lvl7pPr>
      <a:lvl8pPr marL="2500153" algn="l" defTabSz="714329" rtl="0" eaLnBrk="1" latinLnBrk="0" hangingPunct="1">
        <a:defRPr sz="1406" kern="1200">
          <a:solidFill>
            <a:schemeClr val="tx1"/>
          </a:solidFill>
          <a:latin typeface="+mn-lt"/>
          <a:ea typeface="+mn-ea"/>
          <a:cs typeface="+mn-cs"/>
        </a:defRPr>
      </a:lvl8pPr>
      <a:lvl9pPr marL="2857317" algn="l" defTabSz="714329" rtl="0" eaLnBrk="1" latinLnBrk="0" hangingPunct="1">
        <a:defRPr sz="140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621B40-750B-4586-8622-5DF3EF1845E5}"/>
              </a:ext>
            </a:extLst>
          </p:cNvPr>
          <p:cNvSpPr>
            <a:spLocks noGrp="1"/>
          </p:cNvSpPr>
          <p:nvPr>
            <p:ph type="title"/>
          </p:nvPr>
        </p:nvSpPr>
        <p:spPr>
          <a:xfrm>
            <a:off x="742950" y="3357883"/>
            <a:ext cx="10217150" cy="1362075"/>
          </a:xfrm>
        </p:spPr>
        <p:txBody>
          <a:bodyPr/>
          <a:lstStyle/>
          <a:p>
            <a:r>
              <a:rPr lang="en-GB" sz="4000" dirty="0"/>
              <a:t>eRecruitment (Applicant Tracking System)</a:t>
            </a:r>
            <a:br>
              <a:rPr lang="en-GB" sz="4000" dirty="0"/>
            </a:br>
            <a:r>
              <a:rPr lang="en-GB" sz="4000" dirty="0"/>
              <a:t>       </a:t>
            </a:r>
            <a:br>
              <a:rPr lang="en-GB" sz="4800" dirty="0"/>
            </a:br>
            <a:r>
              <a:rPr lang="en-GB" sz="4000" dirty="0"/>
              <a:t>Sept 2022</a:t>
            </a:r>
          </a:p>
        </p:txBody>
      </p:sp>
      <p:sp>
        <p:nvSpPr>
          <p:cNvPr id="3" name="TextBox 2">
            <a:extLst>
              <a:ext uri="{FF2B5EF4-FFF2-40B4-BE49-F238E27FC236}">
                <a16:creationId xmlns:a16="http://schemas.microsoft.com/office/drawing/2014/main" id="{41CE23AB-4055-4A3B-8723-DC43950BBC81}"/>
              </a:ext>
            </a:extLst>
          </p:cNvPr>
          <p:cNvSpPr txBox="1"/>
          <p:nvPr/>
        </p:nvSpPr>
        <p:spPr>
          <a:xfrm>
            <a:off x="809624" y="6048375"/>
            <a:ext cx="10217149" cy="307777"/>
          </a:xfrm>
          <a:prstGeom prst="rect">
            <a:avLst/>
          </a:prstGeom>
          <a:noFill/>
        </p:spPr>
        <p:txBody>
          <a:bodyPr wrap="square" rtlCol="0">
            <a:spAutoFit/>
          </a:bodyPr>
          <a:lstStyle/>
          <a:p>
            <a:r>
              <a:rPr lang="en-GB" sz="1400" dirty="0">
                <a:solidFill>
                  <a:schemeClr val="bg1"/>
                </a:solidFill>
                <a:latin typeface="Tahoma" panose="020B0604030504040204" pitchFamily="34" charset="0"/>
                <a:ea typeface="Tahoma" panose="020B0604030504040204" pitchFamily="34" charset="0"/>
                <a:cs typeface="Tahoma" panose="020B0604030504040204" pitchFamily="34" charset="0"/>
              </a:rPr>
              <a:t>Gill Travis – Head of National Recruitment and Resourcing / Michelle Betts – HR Consultant</a:t>
            </a:r>
          </a:p>
        </p:txBody>
      </p:sp>
    </p:spTree>
    <p:extLst>
      <p:ext uri="{BB962C8B-B14F-4D97-AF65-F5344CB8AC3E}">
        <p14:creationId xmlns:p14="http://schemas.microsoft.com/office/powerpoint/2010/main" val="40561953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2E230E8-DC82-4EE9-A53A-C14F3D44EFD8}"/>
              </a:ext>
            </a:extLst>
          </p:cNvPr>
          <p:cNvSpPr>
            <a:spLocks noGrp="1"/>
          </p:cNvSpPr>
          <p:nvPr>
            <p:ph/>
          </p:nvPr>
        </p:nvSpPr>
        <p:spPr>
          <a:xfrm>
            <a:off x="523875" y="1028700"/>
            <a:ext cx="11058525" cy="5343525"/>
          </a:xfrm>
        </p:spPr>
        <p:txBody>
          <a:bodyPr/>
          <a:lstStyle/>
          <a:p>
            <a:pPr marL="0" indent="0">
              <a:buNone/>
            </a:pPr>
            <a:r>
              <a:rPr lang="en-GB" sz="2000" dirty="0"/>
              <a:t>An Applicant Tracking system (eRecruitment) has been procured to support the Recruitment team to deliver an improved recruitment journey which will provide many benefits, including:</a:t>
            </a:r>
          </a:p>
          <a:p>
            <a:r>
              <a:rPr lang="en-GB" sz="2000" dirty="0"/>
              <a:t>Greatly improve both the hiring manager and the candidate experience.  Hiring manager able to view real time information e.g. references received, OH confirmed etc</a:t>
            </a:r>
          </a:p>
          <a:p>
            <a:r>
              <a:rPr lang="en-GB" sz="2000" dirty="0"/>
              <a:t>Provide mobile optimised recruitment process for candidates and hiring managers.</a:t>
            </a:r>
          </a:p>
          <a:p>
            <a:r>
              <a:rPr lang="en-GB" sz="2000" dirty="0"/>
              <a:t>Provide the ability to retain details of reserve candidates and engage with them in a co-ordinated way through the database.</a:t>
            </a:r>
          </a:p>
          <a:p>
            <a:r>
              <a:rPr lang="en-GB" sz="2000" dirty="0"/>
              <a:t>Improved accessibility options available during application for candidates, if required.</a:t>
            </a:r>
          </a:p>
          <a:p>
            <a:r>
              <a:rPr lang="en-GB" sz="2000" dirty="0"/>
              <a:t>Enable the ability to post to multiple social media channels and job boards inc. NHS jobs</a:t>
            </a:r>
          </a:p>
          <a:p>
            <a:r>
              <a:rPr lang="en-GB" sz="2000" dirty="0"/>
              <a:t>Minimising the number of different systems used to deliver the recruitment journey (currently 15 touch-points)</a:t>
            </a:r>
          </a:p>
          <a:p>
            <a:r>
              <a:rPr lang="en-GB" sz="2000" dirty="0"/>
              <a:t>Deliver automation of some of the recruitment administration to maximise efficiency and reduce error.</a:t>
            </a:r>
          </a:p>
          <a:p>
            <a:r>
              <a:rPr lang="en-GB" sz="2000" dirty="0"/>
              <a:t>Deliver significantly improved recruitment data, including Equality Diversity and Inclusion data</a:t>
            </a:r>
            <a:endParaRPr lang="en-GB" sz="1800" dirty="0"/>
          </a:p>
          <a:p>
            <a:pPr marL="0" indent="0">
              <a:buNone/>
            </a:pPr>
            <a:endParaRPr lang="en-GB" sz="2400" dirty="0"/>
          </a:p>
          <a:p>
            <a:pPr marL="0" indent="0">
              <a:buNone/>
            </a:pPr>
            <a:endParaRPr lang="en-GB" sz="1600" dirty="0"/>
          </a:p>
          <a:p>
            <a:pPr marL="0" indent="0">
              <a:buNone/>
            </a:pPr>
            <a:endParaRPr lang="en-GB" sz="1600" b="1" dirty="0"/>
          </a:p>
          <a:p>
            <a:pPr marL="0" indent="0">
              <a:buNone/>
            </a:pPr>
            <a:endParaRPr lang="en-GB" sz="1800" b="1" dirty="0"/>
          </a:p>
          <a:p>
            <a:endParaRPr lang="en-GB" sz="1600" dirty="0"/>
          </a:p>
          <a:p>
            <a:pPr marL="0" indent="0">
              <a:buNone/>
            </a:pPr>
            <a:endParaRPr lang="en-GB" sz="1600" dirty="0"/>
          </a:p>
          <a:p>
            <a:pPr marL="0" indent="0">
              <a:buNone/>
            </a:pPr>
            <a:endParaRPr lang="en-GB" sz="1600" dirty="0"/>
          </a:p>
          <a:p>
            <a:pPr lvl="0"/>
            <a:endParaRPr lang="en-GB" sz="1600" dirty="0"/>
          </a:p>
          <a:p>
            <a:pPr lvl="0"/>
            <a:endParaRPr lang="en-GB" sz="1600" dirty="0"/>
          </a:p>
          <a:p>
            <a:endParaRPr lang="en-GB" sz="1600" dirty="0"/>
          </a:p>
          <a:p>
            <a:endParaRPr lang="en-GB" sz="1600" dirty="0"/>
          </a:p>
          <a:p>
            <a:endParaRPr lang="en-GB" sz="1600" dirty="0"/>
          </a:p>
          <a:p>
            <a:endParaRPr lang="en-GB" sz="1600" dirty="0"/>
          </a:p>
          <a:p>
            <a:endParaRPr lang="en-GB" sz="1600" dirty="0"/>
          </a:p>
          <a:p>
            <a:endParaRPr lang="en-GB" dirty="0"/>
          </a:p>
        </p:txBody>
      </p:sp>
      <p:sp>
        <p:nvSpPr>
          <p:cNvPr id="3" name="TextBox 2">
            <a:extLst>
              <a:ext uri="{FF2B5EF4-FFF2-40B4-BE49-F238E27FC236}">
                <a16:creationId xmlns:a16="http://schemas.microsoft.com/office/drawing/2014/main" id="{30C700F1-973F-4414-95FA-8EA9380C841E}"/>
              </a:ext>
            </a:extLst>
          </p:cNvPr>
          <p:cNvSpPr txBox="1"/>
          <p:nvPr/>
        </p:nvSpPr>
        <p:spPr>
          <a:xfrm>
            <a:off x="437322" y="302150"/>
            <a:ext cx="8054671" cy="4770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500" b="1" dirty="0">
                <a:solidFill>
                  <a:srgbClr val="0066CC"/>
                </a:solidFill>
                <a:latin typeface="Arial"/>
              </a:rPr>
              <a:t>e-Recruitment - Overview</a:t>
            </a:r>
            <a:endParaRPr kumimoji="0" lang="en-GB" sz="2500" b="1" i="0" u="none" strike="noStrike" kern="1200" cap="none" spc="0" normalizeH="0" baseline="0" noProof="0" dirty="0">
              <a:ln>
                <a:noFill/>
              </a:ln>
              <a:solidFill>
                <a:srgbClr val="0066CC"/>
              </a:solidFill>
              <a:effectLst/>
              <a:uLnTx/>
              <a:uFillTx/>
              <a:latin typeface="Arial"/>
              <a:ea typeface="+mn-ea"/>
              <a:cs typeface="+mn-cs"/>
            </a:endParaRPr>
          </a:p>
        </p:txBody>
      </p:sp>
    </p:spTree>
    <p:extLst>
      <p:ext uri="{BB962C8B-B14F-4D97-AF65-F5344CB8AC3E}">
        <p14:creationId xmlns:p14="http://schemas.microsoft.com/office/powerpoint/2010/main" val="21652575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2305B9B-FE19-4738-B875-BE5FABDB2ECF}"/>
              </a:ext>
            </a:extLst>
          </p:cNvPr>
          <p:cNvSpPr>
            <a:spLocks noGrp="1"/>
          </p:cNvSpPr>
          <p:nvPr>
            <p:ph/>
          </p:nvPr>
        </p:nvSpPr>
        <p:spPr>
          <a:xfrm>
            <a:off x="409575" y="304801"/>
            <a:ext cx="11172825" cy="514350"/>
          </a:xfrm>
        </p:spPr>
        <p:txBody>
          <a:bodyPr/>
          <a:lstStyle/>
          <a:p>
            <a:pPr marL="0" indent="0">
              <a:buNone/>
            </a:pPr>
            <a:r>
              <a:rPr lang="en-GB" sz="2500" b="1" dirty="0">
                <a:solidFill>
                  <a:srgbClr val="0066CC"/>
                </a:solidFill>
                <a:latin typeface="Arial"/>
              </a:rPr>
              <a:t>eRecruitment Launch</a:t>
            </a:r>
          </a:p>
          <a:p>
            <a:pPr marL="0" indent="0">
              <a:buNone/>
            </a:pPr>
            <a:endParaRPr kumimoji="0" lang="en-GB" sz="1600" i="0" u="none" strike="noStrike" kern="1200" cap="none" spc="0" normalizeH="0" baseline="0" noProof="0" dirty="0">
              <a:ln>
                <a:noFill/>
              </a:ln>
              <a:effectLst/>
              <a:uLnTx/>
              <a:uFillTx/>
              <a:latin typeface="Arial"/>
              <a:ea typeface="+mn-ea"/>
              <a:cs typeface="+mn-cs"/>
            </a:endParaRPr>
          </a:p>
          <a:p>
            <a:endParaRPr lang="en-GB" dirty="0"/>
          </a:p>
        </p:txBody>
      </p:sp>
      <p:sp>
        <p:nvSpPr>
          <p:cNvPr id="3" name="TextBox 2">
            <a:extLst>
              <a:ext uri="{FF2B5EF4-FFF2-40B4-BE49-F238E27FC236}">
                <a16:creationId xmlns:a16="http://schemas.microsoft.com/office/drawing/2014/main" id="{11F60F43-1CEA-461D-B387-27C466620B32}"/>
              </a:ext>
            </a:extLst>
          </p:cNvPr>
          <p:cNvSpPr txBox="1"/>
          <p:nvPr/>
        </p:nvSpPr>
        <p:spPr>
          <a:xfrm>
            <a:off x="666749" y="1106165"/>
            <a:ext cx="10658475" cy="6401753"/>
          </a:xfrm>
          <a:prstGeom prst="rect">
            <a:avLst/>
          </a:prstGeom>
          <a:noFill/>
        </p:spPr>
        <p:txBody>
          <a:bodyPr wrap="square" rtlCol="0">
            <a:spAutoFit/>
          </a:bodyPr>
          <a:lstStyle/>
          <a:p>
            <a:r>
              <a:rPr lang="en-GB" sz="2000" dirty="0"/>
              <a:t>Prior to the launch of eRecruitment to the wider organisation, we initiated a ‘soft launch’ with 2 areas of the organisation over a period of 8 weeks :</a:t>
            </a:r>
          </a:p>
          <a:p>
            <a:endParaRPr lang="en-GB" sz="2000" dirty="0"/>
          </a:p>
          <a:p>
            <a:pPr marL="285750" indent="-285750">
              <a:buFont typeface="Arial" panose="020B0604020202020204" pitchFamily="34" charset="0"/>
              <a:buChar char="•"/>
            </a:pPr>
            <a:r>
              <a:rPr lang="en-GB" sz="2000" b="1" dirty="0"/>
              <a:t>Clinical and DDTS</a:t>
            </a:r>
          </a:p>
          <a:p>
            <a:pPr marL="285750" indent="-285750">
              <a:buFont typeface="Arial" panose="020B0604020202020204" pitchFamily="34" charset="0"/>
              <a:buChar char="•"/>
            </a:pPr>
            <a:endParaRPr lang="en-GB" sz="2000" dirty="0"/>
          </a:p>
          <a:p>
            <a:r>
              <a:rPr lang="en-GB" sz="2000" dirty="0"/>
              <a:t>This has been very successful and we will be very shortly seeking feedback across the recruitment journey from both hiring managers and candidates about their experience, to inform any improvements for the wider organisational launch in September. </a:t>
            </a:r>
          </a:p>
          <a:p>
            <a:endParaRPr lang="en-GB" sz="2000" dirty="0"/>
          </a:p>
          <a:p>
            <a:r>
              <a:rPr lang="en-GB" sz="2000" dirty="0"/>
              <a:t>Quotes so far include:</a:t>
            </a:r>
          </a:p>
          <a:p>
            <a:endParaRPr lang="en-GB" sz="2400" dirty="0">
              <a:solidFill>
                <a:srgbClr val="FF0000"/>
              </a:solidFill>
            </a:endParaRPr>
          </a:p>
          <a:p>
            <a:pPr fontAlgn="base"/>
            <a:r>
              <a:rPr lang="en-GB" sz="1800" i="1" dirty="0">
                <a:effectLst/>
                <a:latin typeface="+mj-lt"/>
                <a:ea typeface="Calibri" panose="020F0502020204030204" pitchFamily="34" charset="0"/>
              </a:rPr>
              <a:t>“The experience was robust and easy to follow, and my recruitment assistant was excellent”. </a:t>
            </a:r>
          </a:p>
          <a:p>
            <a:pPr fontAlgn="base"/>
            <a:r>
              <a:rPr lang="en-GB" sz="1800" b="1" i="1" dirty="0">
                <a:effectLst/>
                <a:latin typeface="+mj-lt"/>
                <a:ea typeface="Calibri" panose="020F0502020204030204" pitchFamily="34" charset="0"/>
              </a:rPr>
              <a:t>Rosie Underwood, </a:t>
            </a:r>
            <a:r>
              <a:rPr lang="en-GB" sz="1800" b="1" i="1" dirty="0">
                <a:effectLst/>
                <a:ea typeface="Calibri" panose="020F0502020204030204" pitchFamily="34" charset="0"/>
              </a:rPr>
              <a:t>Head of Data Security, Privacy, and Records Management</a:t>
            </a:r>
          </a:p>
          <a:p>
            <a:pPr fontAlgn="base"/>
            <a:r>
              <a:rPr lang="en-GB" sz="1800" i="1" dirty="0">
                <a:effectLst/>
                <a:latin typeface="+mj-lt"/>
                <a:ea typeface="Calibri" panose="020F0502020204030204" pitchFamily="34" charset="0"/>
              </a:rPr>
              <a:t> </a:t>
            </a:r>
          </a:p>
          <a:p>
            <a:pPr fontAlgn="base"/>
            <a:r>
              <a:rPr lang="en-GB" sz="1800" i="1" dirty="0">
                <a:effectLst/>
                <a:latin typeface="+mj-lt"/>
                <a:ea typeface="Calibri" panose="020F0502020204030204" pitchFamily="34" charset="0"/>
              </a:rPr>
              <a:t>“Just wanted to drop you a quick note to say how impressed I am (currently) with the new recruitment tool. It was extremely easy to get setup with and the interface is very user friendly”.</a:t>
            </a:r>
          </a:p>
          <a:p>
            <a:pPr fontAlgn="base"/>
            <a:r>
              <a:rPr lang="en-GB" sz="1800" i="1" dirty="0">
                <a:effectLst/>
                <a:latin typeface="+mj-lt"/>
                <a:ea typeface="Calibri" panose="020F0502020204030204" pitchFamily="34" charset="0"/>
              </a:rPr>
              <a:t> </a:t>
            </a:r>
            <a:r>
              <a:rPr lang="en-GB" sz="1800" b="1" i="1" dirty="0">
                <a:effectLst/>
                <a:latin typeface="+mj-lt"/>
                <a:ea typeface="Calibri" panose="020F0502020204030204" pitchFamily="34" charset="0"/>
              </a:rPr>
              <a:t>Will Baker, Head of I.T Service Operations </a:t>
            </a:r>
          </a:p>
          <a:p>
            <a:endParaRPr lang="en-GB" sz="2400" dirty="0">
              <a:solidFill>
                <a:srgbClr val="FF0000"/>
              </a:solidFill>
            </a:endParaRPr>
          </a:p>
          <a:p>
            <a:pPr marL="285750" indent="-285750">
              <a:buFont typeface="Arial" panose="020B0604020202020204" pitchFamily="34" charset="0"/>
              <a:buChar char="•"/>
            </a:pPr>
            <a:endParaRPr lang="en-GB" dirty="0"/>
          </a:p>
          <a:p>
            <a:endParaRPr lang="en-GB" dirty="0"/>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7258808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2305B9B-FE19-4738-B875-BE5FABDB2ECF}"/>
              </a:ext>
            </a:extLst>
          </p:cNvPr>
          <p:cNvSpPr>
            <a:spLocks noGrp="1"/>
          </p:cNvSpPr>
          <p:nvPr>
            <p:ph/>
          </p:nvPr>
        </p:nvSpPr>
        <p:spPr>
          <a:xfrm>
            <a:off x="409575" y="304801"/>
            <a:ext cx="11172825" cy="514350"/>
          </a:xfrm>
        </p:spPr>
        <p:txBody>
          <a:bodyPr/>
          <a:lstStyle/>
          <a:p>
            <a:pPr marL="0" indent="0">
              <a:buNone/>
            </a:pPr>
            <a:r>
              <a:rPr lang="en-GB" b="1">
                <a:solidFill>
                  <a:srgbClr val="0066CC"/>
                </a:solidFill>
                <a:latin typeface="Arial"/>
              </a:rPr>
              <a:t>eRecruitment </a:t>
            </a:r>
            <a:r>
              <a:rPr lang="en-GB" b="1" dirty="0">
                <a:solidFill>
                  <a:srgbClr val="0066CC"/>
                </a:solidFill>
                <a:latin typeface="Arial"/>
              </a:rPr>
              <a:t>– What does this mean for the hiring manager?</a:t>
            </a:r>
          </a:p>
          <a:p>
            <a:pPr marL="0" indent="0">
              <a:buNone/>
            </a:pPr>
            <a:endParaRPr kumimoji="0" lang="en-GB" sz="1600" i="0" u="none" strike="noStrike" kern="1200" cap="none" spc="0" normalizeH="0" baseline="0" noProof="0" dirty="0">
              <a:ln>
                <a:noFill/>
              </a:ln>
              <a:effectLst/>
              <a:uLnTx/>
              <a:uFillTx/>
              <a:latin typeface="Arial"/>
              <a:ea typeface="+mn-ea"/>
              <a:cs typeface="+mn-cs"/>
            </a:endParaRPr>
          </a:p>
          <a:p>
            <a:endParaRPr lang="en-GB" dirty="0"/>
          </a:p>
        </p:txBody>
      </p:sp>
      <p:sp>
        <p:nvSpPr>
          <p:cNvPr id="3" name="TextBox 2">
            <a:extLst>
              <a:ext uri="{FF2B5EF4-FFF2-40B4-BE49-F238E27FC236}">
                <a16:creationId xmlns:a16="http://schemas.microsoft.com/office/drawing/2014/main" id="{11F60F43-1CEA-461D-B387-27C466620B32}"/>
              </a:ext>
            </a:extLst>
          </p:cNvPr>
          <p:cNvSpPr txBox="1"/>
          <p:nvPr/>
        </p:nvSpPr>
        <p:spPr>
          <a:xfrm>
            <a:off x="600075" y="1131332"/>
            <a:ext cx="10658475" cy="1292662"/>
          </a:xfrm>
          <a:prstGeom prst="rect">
            <a:avLst/>
          </a:prstGeom>
          <a:noFill/>
        </p:spPr>
        <p:txBody>
          <a:bodyPr wrap="square" rtlCol="0">
            <a:spAutoFit/>
          </a:bodyPr>
          <a:lstStyle/>
          <a:p>
            <a:endParaRPr lang="en-GB" sz="2400" dirty="0"/>
          </a:p>
          <a:p>
            <a:pPr marL="285750" indent="-285750">
              <a:buFont typeface="Arial" panose="020B0604020202020204" pitchFamily="34" charset="0"/>
              <a:buChar char="•"/>
            </a:pPr>
            <a:endParaRPr lang="en-GB" dirty="0"/>
          </a:p>
          <a:p>
            <a:endParaRPr lang="en-GB" dirty="0"/>
          </a:p>
          <a:p>
            <a:pPr marL="285750" indent="-285750">
              <a:buFont typeface="Arial" panose="020B0604020202020204" pitchFamily="34" charset="0"/>
              <a:buChar char="•"/>
            </a:pPr>
            <a:endParaRPr lang="en-GB" dirty="0"/>
          </a:p>
        </p:txBody>
      </p:sp>
      <p:sp>
        <p:nvSpPr>
          <p:cNvPr id="4" name="TextBox 3">
            <a:extLst>
              <a:ext uri="{FF2B5EF4-FFF2-40B4-BE49-F238E27FC236}">
                <a16:creationId xmlns:a16="http://schemas.microsoft.com/office/drawing/2014/main" id="{CC1D320A-BB46-4526-88CF-B6F353CCF615}"/>
              </a:ext>
            </a:extLst>
          </p:cNvPr>
          <p:cNvSpPr txBox="1"/>
          <p:nvPr/>
        </p:nvSpPr>
        <p:spPr>
          <a:xfrm>
            <a:off x="600074" y="893165"/>
            <a:ext cx="11421349" cy="6855723"/>
          </a:xfrm>
          <a:prstGeom prst="rect">
            <a:avLst/>
          </a:prstGeom>
          <a:noFill/>
        </p:spPr>
        <p:txBody>
          <a:bodyPr wrap="square" rtlCol="0">
            <a:spAutoFit/>
          </a:bodyPr>
          <a:lstStyle/>
          <a:p>
            <a:pPr marL="342900" indent="-342900">
              <a:spcBef>
                <a:spcPts val="300"/>
              </a:spcBef>
              <a:spcAft>
                <a:spcPts val="300"/>
              </a:spcAft>
              <a:buAutoNum type="arabicPeriod"/>
            </a:pPr>
            <a:r>
              <a:rPr lang="en-GB" sz="2000" dirty="0"/>
              <a:t>From Monday 5</a:t>
            </a:r>
            <a:r>
              <a:rPr lang="en-GB" sz="2000" baseline="30000" dirty="0"/>
              <a:t>th</a:t>
            </a:r>
            <a:r>
              <a:rPr lang="en-GB" sz="2000" dirty="0"/>
              <a:t> September, requests for vacancies will need to be submitted on the eRecruitment system</a:t>
            </a:r>
          </a:p>
          <a:p>
            <a:pPr marL="342900" indent="-342900">
              <a:spcBef>
                <a:spcPts val="300"/>
              </a:spcBef>
              <a:spcAft>
                <a:spcPts val="300"/>
              </a:spcAft>
              <a:buAutoNum type="arabicPeriod"/>
            </a:pPr>
            <a:r>
              <a:rPr lang="en-GB" sz="2000" dirty="0"/>
              <a:t>The hiring manager will need to request an account – link for this will be on People First.  The request needs to be from the hiring manager as they will be the named contact for accessing the eRecruitment system and to whom notifications will be sent</a:t>
            </a:r>
          </a:p>
          <a:p>
            <a:pPr marL="342900" indent="-342900">
              <a:spcBef>
                <a:spcPts val="300"/>
              </a:spcBef>
              <a:spcAft>
                <a:spcPts val="300"/>
              </a:spcAft>
              <a:buAutoNum type="arabicPeriod"/>
            </a:pPr>
            <a:r>
              <a:rPr lang="en-GB" sz="2000" dirty="0"/>
              <a:t>At the point of requesting an account the hiring manager will be asked to confirm that they have completed the updated the Recruitment and Selection online training modules, which will be matched to training records to be eligible for a log in to be able to recruit</a:t>
            </a:r>
          </a:p>
          <a:p>
            <a:pPr marL="342900" indent="-342900">
              <a:spcBef>
                <a:spcPts val="300"/>
              </a:spcBef>
              <a:spcAft>
                <a:spcPts val="300"/>
              </a:spcAft>
              <a:buAutoNum type="arabicPeriod"/>
            </a:pPr>
            <a:r>
              <a:rPr lang="en-GB" sz="2000" dirty="0"/>
              <a:t>Requests must be for vacancies only.  If you are looking to reallocate hours within the team or requests for </a:t>
            </a:r>
            <a:r>
              <a:rPr lang="en-GB" sz="2000"/>
              <a:t>agency workers you </a:t>
            </a:r>
            <a:r>
              <a:rPr lang="en-GB" sz="2000" dirty="0"/>
              <a:t>would need to seek approval for this via your line manager (recruitment team not involved).  Also where you are wanting reserves you will need to indicate this in the additional information.</a:t>
            </a:r>
          </a:p>
          <a:p>
            <a:pPr marL="342900" indent="-342900">
              <a:spcBef>
                <a:spcPts val="300"/>
              </a:spcBef>
              <a:spcAft>
                <a:spcPts val="300"/>
              </a:spcAft>
              <a:buAutoNum type="arabicPeriod"/>
            </a:pPr>
            <a:r>
              <a:rPr lang="en-GB" sz="2000" dirty="0"/>
              <a:t>After submission of a recruitment request, the hiring manager will be allocated a recruitment contact who will provide support on the system throughout their recruitment journey and guides will also be available. </a:t>
            </a:r>
          </a:p>
          <a:p>
            <a:pPr marL="342900" indent="-342900">
              <a:spcBef>
                <a:spcPts val="300"/>
              </a:spcBef>
              <a:spcAft>
                <a:spcPts val="300"/>
              </a:spcAft>
              <a:buAutoNum type="arabicPeriod"/>
            </a:pPr>
            <a:r>
              <a:rPr lang="en-GB" sz="2000" dirty="0"/>
              <a:t>All existing vacancies actioned prior to 12</a:t>
            </a:r>
            <a:r>
              <a:rPr lang="en-GB" sz="2000" baseline="30000" dirty="0"/>
              <a:t>th</a:t>
            </a:r>
            <a:r>
              <a:rPr lang="en-GB" sz="2000" dirty="0"/>
              <a:t> September will continue to be progressed using the “old style” recruitment process</a:t>
            </a:r>
          </a:p>
          <a:p>
            <a:endParaRPr lang="en-GB" dirty="0"/>
          </a:p>
          <a:p>
            <a:endParaRPr lang="en-GB" dirty="0"/>
          </a:p>
          <a:p>
            <a:endParaRPr lang="en-GB" dirty="0"/>
          </a:p>
          <a:p>
            <a:pPr marL="342900" indent="-342900">
              <a:buAutoNum type="arabicPeriod"/>
            </a:pPr>
            <a:endParaRPr lang="en-GB" dirty="0"/>
          </a:p>
        </p:txBody>
      </p:sp>
    </p:spTree>
    <p:extLst>
      <p:ext uri="{BB962C8B-B14F-4D97-AF65-F5344CB8AC3E}">
        <p14:creationId xmlns:p14="http://schemas.microsoft.com/office/powerpoint/2010/main" val="24735708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E25E690-6FCA-4749-9BE7-990F9F2D4CD5}"/>
              </a:ext>
            </a:extLst>
          </p:cNvPr>
          <p:cNvSpPr>
            <a:spLocks noGrp="1"/>
          </p:cNvSpPr>
          <p:nvPr>
            <p:ph/>
          </p:nvPr>
        </p:nvSpPr>
        <p:spPr>
          <a:xfrm>
            <a:off x="504825" y="274641"/>
            <a:ext cx="11077575" cy="544510"/>
          </a:xfrm>
        </p:spPr>
        <p:txBody>
          <a:bodyPr/>
          <a:lstStyle/>
          <a:p>
            <a:pPr marL="0" indent="0">
              <a:buNone/>
            </a:pPr>
            <a:r>
              <a:rPr lang="en-GB" b="1" dirty="0">
                <a:solidFill>
                  <a:srgbClr val="0070C0"/>
                </a:solidFill>
              </a:rPr>
              <a:t>eRecruitment Key Dates </a:t>
            </a:r>
          </a:p>
        </p:txBody>
      </p:sp>
      <p:sp>
        <p:nvSpPr>
          <p:cNvPr id="3" name="TextBox 2">
            <a:extLst>
              <a:ext uri="{FF2B5EF4-FFF2-40B4-BE49-F238E27FC236}">
                <a16:creationId xmlns:a16="http://schemas.microsoft.com/office/drawing/2014/main" id="{F6DA52C9-E922-4DE1-B41B-E97AF4388CCB}"/>
              </a:ext>
            </a:extLst>
          </p:cNvPr>
          <p:cNvSpPr txBox="1"/>
          <p:nvPr/>
        </p:nvSpPr>
        <p:spPr>
          <a:xfrm>
            <a:off x="400050" y="723901"/>
            <a:ext cx="11077575" cy="4062651"/>
          </a:xfrm>
          <a:prstGeom prst="rect">
            <a:avLst/>
          </a:prstGeom>
          <a:noFill/>
        </p:spPr>
        <p:txBody>
          <a:bodyPr wrap="square" rtlCol="0">
            <a:spAutoFit/>
          </a:bodyPr>
          <a:lstStyle/>
          <a:p>
            <a:endParaRPr lang="en-GB" sz="2000" dirty="0"/>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a:t>Review of Soft Launch (2 weeks)			Monday 29</a:t>
            </a:r>
            <a:r>
              <a:rPr lang="en-GB" sz="2000" baseline="30000" dirty="0"/>
              <a:t>th</a:t>
            </a:r>
            <a:r>
              <a:rPr lang="en-GB" sz="2000" dirty="0"/>
              <a:t> August-9</a:t>
            </a:r>
            <a:r>
              <a:rPr lang="en-GB" sz="2000" baseline="30000" dirty="0"/>
              <a:t>th</a:t>
            </a:r>
            <a:r>
              <a:rPr lang="en-GB" sz="2000" dirty="0"/>
              <a:t> Sept 2022</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a:t>Recruitment requests via </a:t>
            </a:r>
            <a:r>
              <a:rPr lang="en-GB" sz="2000" dirty="0" err="1"/>
              <a:t>eRecruitment</a:t>
            </a:r>
            <a:r>
              <a:rPr lang="en-GB" sz="2000" dirty="0"/>
              <a:t> 		Monday 5</a:t>
            </a:r>
            <a:r>
              <a:rPr lang="en-GB" sz="2000" baseline="30000" dirty="0"/>
              <a:t>th</a:t>
            </a:r>
            <a:r>
              <a:rPr lang="en-GB" sz="2000" dirty="0"/>
              <a:t> September</a:t>
            </a:r>
          </a:p>
          <a:p>
            <a:endParaRPr lang="en-GB" sz="2000" dirty="0"/>
          </a:p>
          <a:p>
            <a:pPr marL="285750" indent="-285750">
              <a:buFont typeface="Arial" panose="020B0604020202020204" pitchFamily="34" charset="0"/>
              <a:buChar char="•"/>
            </a:pPr>
            <a:r>
              <a:rPr lang="en-GB" sz="2000" dirty="0"/>
              <a:t>Full implementation of e-recruitment 			Monday 12</a:t>
            </a:r>
            <a:r>
              <a:rPr lang="en-GB" sz="2000" baseline="30000" dirty="0"/>
              <a:t>th</a:t>
            </a:r>
            <a:r>
              <a:rPr lang="en-GB" sz="2000" dirty="0"/>
              <a:t> September </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a:t>All posts on NHS Jobs 3 </a:t>
            </a:r>
            <a:r>
              <a:rPr lang="en-GB" sz="1400" dirty="0"/>
              <a:t>(prior to close of NHS Jobs 2)</a:t>
            </a:r>
            <a:r>
              <a:rPr lang="en-GB" sz="2000" dirty="0"/>
              <a:t>		Friday 31</a:t>
            </a:r>
            <a:r>
              <a:rPr lang="en-GB" sz="2000" baseline="30000" dirty="0"/>
              <a:t>st</a:t>
            </a:r>
            <a:r>
              <a:rPr lang="en-GB" sz="2000" dirty="0"/>
              <a:t> October 2022</a:t>
            </a:r>
          </a:p>
          <a:p>
            <a:pPr marL="285750" indent="-285750">
              <a:buFont typeface="Arial" panose="020B0604020202020204" pitchFamily="34" charset="0"/>
              <a:buChar char="•"/>
            </a:pPr>
            <a:endParaRPr lang="en-GB" sz="2000" dirty="0"/>
          </a:p>
          <a:p>
            <a:pPr marL="285750" indent="-285750">
              <a:buFont typeface="Arial" panose="020B0604020202020204" pitchFamily="34" charset="0"/>
              <a:buChar char="•"/>
            </a:pPr>
            <a:r>
              <a:rPr lang="en-GB" sz="2000" dirty="0"/>
              <a:t>Post implementation review				End November 2022</a:t>
            </a:r>
          </a:p>
          <a:p>
            <a:endParaRPr lang="en-GB" sz="2000" dirty="0"/>
          </a:p>
          <a:p>
            <a:pPr marL="285750" indent="-285750">
              <a:buFont typeface="Arial" panose="020B0604020202020204" pitchFamily="34" charset="0"/>
              <a:buChar char="•"/>
            </a:pPr>
            <a:endParaRPr lang="en-GB" dirty="0"/>
          </a:p>
        </p:txBody>
      </p:sp>
    </p:spTree>
    <p:extLst>
      <p:ext uri="{BB962C8B-B14F-4D97-AF65-F5344CB8AC3E}">
        <p14:creationId xmlns:p14="http://schemas.microsoft.com/office/powerpoint/2010/main" val="25043229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o1XskarbEqDThPchPPNx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E.lHlzYi02DdQrEzb.F_Q"/>
</p:tagLst>
</file>

<file path=ppt/theme/theme1.xml><?xml version="1.0" encoding="utf-8"?>
<a:theme xmlns:a="http://schemas.openxmlformats.org/drawingml/2006/main" name="6_Transform PPT Template v1 2013_05">
  <a:themeElements>
    <a:clrScheme name="Custom 1">
      <a:dk1>
        <a:srgbClr val="000000"/>
      </a:dk1>
      <a:lt1>
        <a:srgbClr val="FFFFFF"/>
      </a:lt1>
      <a:dk2>
        <a:srgbClr val="4757A6"/>
      </a:dk2>
      <a:lt2>
        <a:srgbClr val="508AEF"/>
      </a:lt2>
      <a:accent1>
        <a:srgbClr val="B45AA3"/>
      </a:accent1>
      <a:accent2>
        <a:srgbClr val="EB387E"/>
      </a:accent2>
      <a:accent3>
        <a:srgbClr val="EF3F33"/>
      </a:accent3>
      <a:accent4>
        <a:srgbClr val="F99D31"/>
      </a:accent4>
      <a:accent5>
        <a:srgbClr val="6D6E70"/>
      </a:accent5>
      <a:accent6>
        <a:srgbClr val="84C157"/>
      </a:accent6>
      <a:hlink>
        <a:srgbClr val="000000"/>
      </a:hlink>
      <a:folHlink>
        <a:srgbClr val="000000"/>
      </a:folHlink>
    </a:clrScheme>
    <a:fontScheme name="Slipstream">
      <a:majorFont>
        <a:latin typeface="Trebuchet MS"/>
        <a:ea typeface=""/>
        <a:cs typeface=""/>
        <a:font script="Jpan" typeface="ＭＳ ゴシック"/>
        <a:font script="Hang" typeface="HY그래픽B"/>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a:ea typeface=""/>
        <a:cs typeface=""/>
        <a:font script="Jpan" typeface="ＭＳ ゴシック"/>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69900"/>
        </a:solidFill>
        <a:ln w="3175" cap="flat" cmpd="sng" algn="ctr">
          <a:solidFill>
            <a:schemeClr val="tx1"/>
          </a:solidFill>
          <a:prstDash val="solid"/>
        </a:ln>
        <a:effectLst/>
      </a:spPr>
      <a:bodyPr lIns="36000" tIns="0" rIns="36000" bIns="0" anchor="ctr"/>
      <a:lstStyle>
        <a:defPPr algn="ctr" defTabSz="1285875" eaLnBrk="1" hangingPunct="1">
          <a:lnSpc>
            <a:spcPts val="700"/>
          </a:lnSpc>
          <a:defRPr sz="800" kern="0" dirty="0">
            <a:solidFill>
              <a:prstClr val="white"/>
            </a:solidFill>
            <a:latin typeface="Arial"/>
            <a:cs typeface="Arial" panose="020B0604020202020204" pitchFamily="34" charset="0"/>
          </a:defRPr>
        </a:defPPr>
      </a:lstStyle>
    </a:spDef>
    <a:txDef>
      <a:spPr>
        <a:noFill/>
      </a:spPr>
      <a:bodyPr wrap="none" rtlCol="0">
        <a:spAutoFit/>
      </a:bodyPr>
      <a:lstStyle>
        <a:defPPr>
          <a:defRPr sz="1800" dirty="0" smtClean="0">
            <a:latin typeface="Trebuchet MS"/>
            <a:cs typeface="Trebuchet MS"/>
          </a:defRPr>
        </a:defPPr>
      </a:lstStyle>
    </a:txDef>
  </a:objectDefaults>
  <a:extraClrSchemeLst/>
</a:theme>
</file>

<file path=ppt/theme/theme2.xml><?xml version="1.0" encoding="utf-8"?>
<a:theme xmlns:a="http://schemas.openxmlformats.org/drawingml/2006/main" name="2_Default Design">
  <a:themeElements>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altLang="en-US" sz="4400" b="1"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altLang="en-US" sz="4400" b="1" i="0" u="none" strike="noStrike" cap="none" normalizeH="0" baseline="0" smtClean="0">
            <a:ln>
              <a:noFill/>
            </a:ln>
            <a:solidFill>
              <a:schemeClr val="tx1"/>
            </a:solidFill>
            <a:effectLst/>
            <a:latin typeface="Arial" pitchFamily="34" charset="0"/>
          </a:defRPr>
        </a:defPPr>
      </a:lstStyle>
    </a:lnDef>
  </a:objectDefaults>
  <a:extraClrSchemeLst>
    <a:extraClrScheme>
      <a:clrScheme name="2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904</TotalTime>
  <Words>658</Words>
  <Application>Microsoft Office PowerPoint</Application>
  <PresentationFormat>Widescreen</PresentationFormat>
  <Paragraphs>64</Paragraphs>
  <Slides>5</Slides>
  <Notes>0</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5</vt:i4>
      </vt:variant>
    </vt:vector>
  </HeadingPairs>
  <TitlesOfParts>
    <vt:vector size="13" baseType="lpstr">
      <vt:lpstr>Arial</vt:lpstr>
      <vt:lpstr>Calibri</vt:lpstr>
      <vt:lpstr>Lucida Grande</vt:lpstr>
      <vt:lpstr>Tahoma</vt:lpstr>
      <vt:lpstr>Trebuchet MS</vt:lpstr>
      <vt:lpstr>6_Transform PPT Template v1 2013_05</vt:lpstr>
      <vt:lpstr>2_Default Design</vt:lpstr>
      <vt:lpstr>think-cell Slide</vt:lpstr>
      <vt:lpstr>eRecruitment (Applicant Tracking System)         Sept 2022</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 D&amp;I Plan</dc:title>
  <dc:creator>Michelle Betts</dc:creator>
  <cp:lastModifiedBy>Gill Travis</cp:lastModifiedBy>
  <cp:revision>141</cp:revision>
  <dcterms:created xsi:type="dcterms:W3CDTF">2021-07-12T15:11:16Z</dcterms:created>
  <dcterms:modified xsi:type="dcterms:W3CDTF">2022-09-02T09:57:36Z</dcterms:modified>
</cp:coreProperties>
</file>